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7" r:id="rId5"/>
    <p:sldId id="687" r:id="rId6"/>
    <p:sldId id="684" r:id="rId7"/>
    <p:sldId id="685" r:id="rId8"/>
    <p:sldId id="683" r:id="rId9"/>
    <p:sldId id="337" r:id="rId10"/>
    <p:sldId id="346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0F1B79-A89E-352E-EF24-FCF793D5876A}" name="Schober, Katharina" initials="KS" userId="S::WITTMKA1@novartis.net::f2df5bda-2a25-4100-b64c-88a012b6cf8f" providerId="AD"/>
  <p188:author id="{B0127184-0F00-C23E-79F0-543ED6C869A7}" name="Tagari, Eleni" initials="ET" userId="S::TAGAREL1@novartis.net::698b4a75-4965-49df-b4c2-d2566eb8ce59" providerId="AD"/>
  <p188:author id="{472B2CFF-F339-9938-F6D2-7947D6BF70E6}" name="Katharina Steiner" initials="KS" userId="S::kasteiner@spiritlink.de::c993eab1-726f-4a0b-9e6e-d57b951a248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460A9"/>
    <a:srgbClr val="D0D0D0"/>
    <a:srgbClr val="A7A8AA"/>
    <a:srgbClr val="50E2D0"/>
    <a:srgbClr val="8F2DDE"/>
    <a:srgbClr val="002068"/>
    <a:srgbClr val="FFC100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79208" autoAdjust="0"/>
  </p:normalViewPr>
  <p:slideViewPr>
    <p:cSldViewPr snapToGrid="0">
      <p:cViewPr varScale="1">
        <p:scale>
          <a:sx n="88" d="100"/>
          <a:sy n="88" d="100"/>
        </p:scale>
        <p:origin x="1452" y="84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7.xml"/><Relationship Id="rId1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gari, Eleni" userId="698b4a75-4965-49df-b4c2-d2566eb8ce59" providerId="ADAL" clId="{20262A46-C498-4E81-BDBF-79E78A3240C0}"/>
    <pc:docChg chg="undo custSel addSld delSld modSld replTag">
      <pc:chgData name="Tagari, Eleni" userId="698b4a75-4965-49df-b4c2-d2566eb8ce59" providerId="ADAL" clId="{20262A46-C498-4E81-BDBF-79E78A3240C0}" dt="2024-06-25T10:47:12.073" v="1065" actId="478"/>
      <pc:docMkLst>
        <pc:docMk/>
      </pc:docMkLst>
      <pc:sldChg chg="modSp mod modNotesTx">
        <pc:chgData name="Tagari, Eleni" userId="698b4a75-4965-49df-b4c2-d2566eb8ce59" providerId="ADAL" clId="{20262A46-C498-4E81-BDBF-79E78A3240C0}" dt="2024-06-25T10:38:03.899" v="741" actId="20577"/>
        <pc:sldMkLst>
          <pc:docMk/>
          <pc:sldMk cId="688923574" sldId="257"/>
        </pc:sldMkLst>
        <pc:spChg chg="mod">
          <ac:chgData name="Tagari, Eleni" userId="698b4a75-4965-49df-b4c2-d2566eb8ce59" providerId="ADAL" clId="{20262A46-C498-4E81-BDBF-79E78A3240C0}" dt="2024-06-25T10:38:03.899" v="741" actId="20577"/>
          <ac:spMkLst>
            <pc:docMk/>
            <pc:sldMk cId="688923574" sldId="257"/>
            <ac:spMk id="7" creationId="{772725FC-75FF-B70F-B5DB-E4E06D0E7C62}"/>
          </ac:spMkLst>
        </pc:spChg>
      </pc:sldChg>
      <pc:sldChg chg="addSp delSp modSp mod">
        <pc:chgData name="Tagari, Eleni" userId="698b4a75-4965-49df-b4c2-d2566eb8ce59" providerId="ADAL" clId="{20262A46-C498-4E81-BDBF-79E78A3240C0}" dt="2024-06-25T10:41:55.907" v="962" actId="478"/>
        <pc:sldMkLst>
          <pc:docMk/>
          <pc:sldMk cId="2931822860" sldId="337"/>
        </pc:sldMkLst>
        <pc:spChg chg="mod ord">
          <ac:chgData name="Tagari, Eleni" userId="698b4a75-4965-49df-b4c2-d2566eb8ce59" providerId="ADAL" clId="{20262A46-C498-4E81-BDBF-79E78A3240C0}" dt="2024-06-25T10:41:54.088" v="949"/>
          <ac:spMkLst>
            <pc:docMk/>
            <pc:sldMk cId="2931822860" sldId="337"/>
            <ac:spMk id="2" creationId="{9F3E775B-9702-BEF4-0954-37963C774A8A}"/>
          </ac:spMkLst>
        </pc:spChg>
        <pc:spChg chg="add del mod modVis">
          <ac:chgData name="Tagari, Eleni" userId="698b4a75-4965-49df-b4c2-d2566eb8ce59" providerId="ADAL" clId="{20262A46-C498-4E81-BDBF-79E78A3240C0}" dt="2024-06-22T19:25:59.648" v="73"/>
          <ac:spMkLst>
            <pc:docMk/>
            <pc:sldMk cId="2931822860" sldId="337"/>
            <ac:spMk id="5" creationId="{5631C2A0-16E9-BB10-E570-12FF7D90FC81}"/>
          </ac:spMkLst>
        </pc:spChg>
        <pc:spChg chg="add del mod modVis">
          <ac:chgData name="Tagari, Eleni" userId="698b4a75-4965-49df-b4c2-d2566eb8ce59" providerId="ADAL" clId="{20262A46-C498-4E81-BDBF-79E78A3240C0}" dt="2024-06-25T10:41:54.090" v="959"/>
          <ac:spMkLst>
            <pc:docMk/>
            <pc:sldMk cId="2931822860" sldId="337"/>
            <ac:spMk id="7" creationId="{18C37980-6A4A-8D17-AF63-2C286AA2D871}"/>
          </ac:spMkLst>
        </pc:spChg>
        <pc:graphicFrameChg chg="mod ord">
          <ac:chgData name="Tagari, Eleni" userId="698b4a75-4965-49df-b4c2-d2566eb8ce59" providerId="ADAL" clId="{20262A46-C498-4E81-BDBF-79E78A3240C0}" dt="2024-06-25T10:41:54.088" v="951"/>
          <ac:graphicFrameMkLst>
            <pc:docMk/>
            <pc:sldMk cId="2931822860" sldId="337"/>
            <ac:graphicFrameMk id="4" creationId="{85EF330E-AC31-B014-9D06-B19806485095}"/>
          </ac:graphicFrameMkLst>
        </pc:graphicFrameChg>
        <pc:graphicFrameChg chg="mod">
          <ac:chgData name="Tagari, Eleni" userId="698b4a75-4965-49df-b4c2-d2566eb8ce59" providerId="ADAL" clId="{20262A46-C498-4E81-BDBF-79E78A3240C0}" dt="2024-06-25T10:41:54.095" v="961"/>
          <ac:graphicFrameMkLst>
            <pc:docMk/>
            <pc:sldMk cId="2931822860" sldId="337"/>
            <ac:graphicFrameMk id="8" creationId="{9BA44ABD-1EE6-8B50-E9FE-2F4D0E8AFDBC}"/>
          </ac:graphicFrameMkLst>
        </pc:graphicFrameChg>
        <pc:picChg chg="mod ord">
          <ac:chgData name="Tagari, Eleni" userId="698b4a75-4965-49df-b4c2-d2566eb8ce59" providerId="ADAL" clId="{20262A46-C498-4E81-BDBF-79E78A3240C0}" dt="2024-06-25T10:41:54.088" v="953"/>
          <ac:picMkLst>
            <pc:docMk/>
            <pc:sldMk cId="2931822860" sldId="337"/>
            <ac:picMk id="3" creationId="{FA7B76A0-56FC-AFE3-56C8-23A5404DFCE2}"/>
          </ac:picMkLst>
        </pc:picChg>
        <pc:picChg chg="add mod ord">
          <ac:chgData name="Tagari, Eleni" userId="698b4a75-4965-49df-b4c2-d2566eb8ce59" providerId="ADAL" clId="{20262A46-C498-4E81-BDBF-79E78A3240C0}" dt="2024-06-25T10:41:54.087" v="947"/>
          <ac:picMkLst>
            <pc:docMk/>
            <pc:sldMk cId="2931822860" sldId="337"/>
            <ac:picMk id="6" creationId="{8ADB05EE-D363-9B91-3B80-293BAE14B8CF}"/>
          </ac:picMkLst>
        </pc:picChg>
        <pc:picChg chg="add del mod">
          <ac:chgData name="Tagari, Eleni" userId="698b4a75-4965-49df-b4c2-d2566eb8ce59" providerId="ADAL" clId="{20262A46-C498-4E81-BDBF-79E78A3240C0}" dt="2024-06-22T19:26:17.158" v="81" actId="478"/>
          <ac:picMkLst>
            <pc:docMk/>
            <pc:sldMk cId="2931822860" sldId="337"/>
            <ac:picMk id="7" creationId="{7459CFF4-FC3B-7FC1-743E-DC9C7F453675}"/>
          </ac:picMkLst>
        </pc:picChg>
        <pc:picChg chg="del">
          <ac:chgData name="Tagari, Eleni" userId="698b4a75-4965-49df-b4c2-d2566eb8ce59" providerId="ADAL" clId="{20262A46-C498-4E81-BDBF-79E78A3240C0}" dt="2024-06-22T19:25:53.868" v="47" actId="478"/>
          <ac:picMkLst>
            <pc:docMk/>
            <pc:sldMk cId="2931822860" sldId="337"/>
            <ac:picMk id="9" creationId="{321B506D-3F71-4396-53AB-ADD07C30A525}"/>
          </ac:picMkLst>
        </pc:picChg>
        <pc:picChg chg="add del mod ord">
          <ac:chgData name="Tagari, Eleni" userId="698b4a75-4965-49df-b4c2-d2566eb8ce59" providerId="ADAL" clId="{20262A46-C498-4E81-BDBF-79E78A3240C0}" dt="2024-06-25T10:41:55.907" v="962" actId="478"/>
          <ac:picMkLst>
            <pc:docMk/>
            <pc:sldMk cId="2931822860" sldId="337"/>
            <ac:picMk id="11" creationId="{5E746898-F01C-C6FC-934B-1BA067B5D3DC}"/>
          </ac:picMkLst>
        </pc:picChg>
      </pc:sldChg>
      <pc:sldChg chg="modSp mod modNotesTx">
        <pc:chgData name="Tagari, Eleni" userId="698b4a75-4965-49df-b4c2-d2566eb8ce59" providerId="ADAL" clId="{20262A46-C498-4E81-BDBF-79E78A3240C0}" dt="2024-06-25T10:45:03.781" v="976" actId="255"/>
        <pc:sldMkLst>
          <pc:docMk/>
          <pc:sldMk cId="2251746133" sldId="346"/>
        </pc:sldMkLst>
        <pc:spChg chg="mod">
          <ac:chgData name="Tagari, Eleni" userId="698b4a75-4965-49df-b4c2-d2566eb8ce59" providerId="ADAL" clId="{20262A46-C498-4E81-BDBF-79E78A3240C0}" dt="2024-06-25T10:43:18.320" v="965" actId="255"/>
          <ac:spMkLst>
            <pc:docMk/>
            <pc:sldMk cId="2251746133" sldId="346"/>
            <ac:spMk id="5" creationId="{EB1112DE-21C3-0D24-546D-781D86425054}"/>
          </ac:spMkLst>
        </pc:spChg>
        <pc:spChg chg="mod">
          <ac:chgData name="Tagari, Eleni" userId="698b4a75-4965-49df-b4c2-d2566eb8ce59" providerId="ADAL" clId="{20262A46-C498-4E81-BDBF-79E78A3240C0}" dt="2024-06-25T10:45:03.781" v="976" actId="255"/>
          <ac:spMkLst>
            <pc:docMk/>
            <pc:sldMk cId="2251746133" sldId="346"/>
            <ac:spMk id="20" creationId="{6B5A2FF8-A32F-B20E-FE99-C85B8B353237}"/>
          </ac:spMkLst>
        </pc:spChg>
      </pc:sldChg>
      <pc:sldChg chg="addSp delSp modSp mod modNotesTx">
        <pc:chgData name="Tagari, Eleni" userId="698b4a75-4965-49df-b4c2-d2566eb8ce59" providerId="ADAL" clId="{20262A46-C498-4E81-BDBF-79E78A3240C0}" dt="2024-06-25T10:41:04.448" v="885" actId="478"/>
        <pc:sldMkLst>
          <pc:docMk/>
          <pc:sldMk cId="302238074" sldId="683"/>
        </pc:sldMkLst>
        <pc:spChg chg="mod ord">
          <ac:chgData name="Tagari, Eleni" userId="698b4a75-4965-49df-b4c2-d2566eb8ce59" providerId="ADAL" clId="{20262A46-C498-4E81-BDBF-79E78A3240C0}" dt="2024-06-25T10:41:03.005" v="872"/>
          <ac:spMkLst>
            <pc:docMk/>
            <pc:sldMk cId="302238074" sldId="683"/>
            <ac:spMk id="2" creationId="{9F3E775B-9702-BEF4-0954-37963C774A8A}"/>
          </ac:spMkLst>
        </pc:spChg>
        <pc:spChg chg="add del mod modVis">
          <ac:chgData name="Tagari, Eleni" userId="698b4a75-4965-49df-b4c2-d2566eb8ce59" providerId="ADAL" clId="{20262A46-C498-4E81-BDBF-79E78A3240C0}" dt="2024-06-25T10:41:03.007" v="882"/>
          <ac:spMkLst>
            <pc:docMk/>
            <pc:sldMk cId="302238074" sldId="683"/>
            <ac:spMk id="8" creationId="{00D37CFF-8670-4D98-ADD6-D5811FF535DB}"/>
          </ac:spMkLst>
        </pc:spChg>
        <pc:graphicFrameChg chg="mod ord">
          <ac:chgData name="Tagari, Eleni" userId="698b4a75-4965-49df-b4c2-d2566eb8ce59" providerId="ADAL" clId="{20262A46-C498-4E81-BDBF-79E78A3240C0}" dt="2024-06-25T10:41:03.005" v="874"/>
          <ac:graphicFrameMkLst>
            <pc:docMk/>
            <pc:sldMk cId="302238074" sldId="683"/>
            <ac:graphicFrameMk id="4" creationId="{F94A6BF2-3787-313B-5756-DFEA66DAB789}"/>
          </ac:graphicFrameMkLst>
        </pc:graphicFrameChg>
        <pc:graphicFrameChg chg="mod">
          <ac:chgData name="Tagari, Eleni" userId="698b4a75-4965-49df-b4c2-d2566eb8ce59" providerId="ADAL" clId="{20262A46-C498-4E81-BDBF-79E78A3240C0}" dt="2024-06-25T10:41:03.011" v="884"/>
          <ac:graphicFrameMkLst>
            <pc:docMk/>
            <pc:sldMk cId="302238074" sldId="683"/>
            <ac:graphicFrameMk id="20" creationId="{0D02D5CE-754C-A6CC-18FE-D752F3B185E5}"/>
          </ac:graphicFrameMkLst>
        </pc:graphicFrameChg>
        <pc:picChg chg="mod ord">
          <ac:chgData name="Tagari, Eleni" userId="698b4a75-4965-49df-b4c2-d2566eb8ce59" providerId="ADAL" clId="{20262A46-C498-4E81-BDBF-79E78A3240C0}" dt="2024-06-25T10:41:03.005" v="876"/>
          <ac:picMkLst>
            <pc:docMk/>
            <pc:sldMk cId="302238074" sldId="683"/>
            <ac:picMk id="3" creationId="{29DCE231-8164-C2E1-FCCB-3FD1D1BD51D3}"/>
          </ac:picMkLst>
        </pc:picChg>
        <pc:picChg chg="add del mod ord">
          <ac:chgData name="Tagari, Eleni" userId="698b4a75-4965-49df-b4c2-d2566eb8ce59" providerId="ADAL" clId="{20262A46-C498-4E81-BDBF-79E78A3240C0}" dt="2024-06-25T10:41:04.448" v="885" actId="478"/>
          <ac:picMkLst>
            <pc:docMk/>
            <pc:sldMk cId="302238074" sldId="683"/>
            <ac:picMk id="6" creationId="{2B15174E-685B-8BE2-F3E5-7FB47583CB10}"/>
          </ac:picMkLst>
        </pc:picChg>
        <pc:picChg chg="add mod ord">
          <ac:chgData name="Tagari, Eleni" userId="698b4a75-4965-49df-b4c2-d2566eb8ce59" providerId="ADAL" clId="{20262A46-C498-4E81-BDBF-79E78A3240C0}" dt="2024-06-25T10:41:03.004" v="870"/>
          <ac:picMkLst>
            <pc:docMk/>
            <pc:sldMk cId="302238074" sldId="683"/>
            <ac:picMk id="7" creationId="{DACDFC06-0B0F-F85C-6368-B72FD6BB5E3C}"/>
          </ac:picMkLst>
        </pc:picChg>
        <pc:picChg chg="del">
          <ac:chgData name="Tagari, Eleni" userId="698b4a75-4965-49df-b4c2-d2566eb8ce59" providerId="ADAL" clId="{20262A46-C498-4E81-BDBF-79E78A3240C0}" dt="2024-06-22T19:25:03.210" v="38" actId="478"/>
          <ac:picMkLst>
            <pc:docMk/>
            <pc:sldMk cId="302238074" sldId="683"/>
            <ac:picMk id="16" creationId="{AB902E74-C1AC-0805-0BCC-4BF886095271}"/>
          </ac:picMkLst>
        </pc:picChg>
      </pc:sldChg>
      <pc:sldChg chg="addSp delSp modSp mod modNotesTx">
        <pc:chgData name="Tagari, Eleni" userId="698b4a75-4965-49df-b4c2-d2566eb8ce59" providerId="ADAL" clId="{20262A46-C498-4E81-BDBF-79E78A3240C0}" dt="2024-06-25T10:47:12.073" v="1065" actId="478"/>
        <pc:sldMkLst>
          <pc:docMk/>
          <pc:sldMk cId="1244305718" sldId="684"/>
        </pc:sldMkLst>
        <pc:spChg chg="mod ord">
          <ac:chgData name="Tagari, Eleni" userId="698b4a75-4965-49df-b4c2-d2566eb8ce59" providerId="ADAL" clId="{20262A46-C498-4E81-BDBF-79E78A3240C0}" dt="2024-06-25T10:47:10.568" v="1056"/>
          <ac:spMkLst>
            <pc:docMk/>
            <pc:sldMk cId="1244305718" sldId="684"/>
            <ac:spMk id="2" creationId="{9F3E775B-9702-BEF4-0954-37963C774A8A}"/>
          </ac:spMkLst>
        </pc:spChg>
        <pc:graphicFrameChg chg="mod ord modGraphic">
          <ac:chgData name="Tagari, Eleni" userId="698b4a75-4965-49df-b4c2-d2566eb8ce59" providerId="ADAL" clId="{20262A46-C498-4E81-BDBF-79E78A3240C0}" dt="2024-06-25T10:47:10.568" v="1058"/>
          <ac:graphicFrameMkLst>
            <pc:docMk/>
            <pc:sldMk cId="1244305718" sldId="684"/>
            <ac:graphicFrameMk id="4" creationId="{9FDCD813-4B9D-ED57-143A-CEF2518B1A43}"/>
          </ac:graphicFrameMkLst>
        </pc:graphicFrameChg>
        <pc:graphicFrameChg chg="mod">
          <ac:chgData name="Tagari, Eleni" userId="698b4a75-4965-49df-b4c2-d2566eb8ce59" providerId="ADAL" clId="{20262A46-C498-4E81-BDBF-79E78A3240C0}" dt="2024-06-25T10:47:10.573" v="1064"/>
          <ac:graphicFrameMkLst>
            <pc:docMk/>
            <pc:sldMk cId="1244305718" sldId="684"/>
            <ac:graphicFrameMk id="8" creationId="{AD38F5D7-1852-D087-D902-5A88611C1A23}"/>
          </ac:graphicFrameMkLst>
        </pc:graphicFrameChg>
        <pc:picChg chg="mod ord">
          <ac:chgData name="Tagari, Eleni" userId="698b4a75-4965-49df-b4c2-d2566eb8ce59" providerId="ADAL" clId="{20262A46-C498-4E81-BDBF-79E78A3240C0}" dt="2024-06-25T10:47:10.569" v="1060"/>
          <ac:picMkLst>
            <pc:docMk/>
            <pc:sldMk cId="1244305718" sldId="684"/>
            <ac:picMk id="3" creationId="{96938FD1-0F11-9A47-7511-F833AD6DF529}"/>
          </ac:picMkLst>
        </pc:picChg>
        <pc:picChg chg="add mod ord">
          <ac:chgData name="Tagari, Eleni" userId="698b4a75-4965-49df-b4c2-d2566eb8ce59" providerId="ADAL" clId="{20262A46-C498-4E81-BDBF-79E78A3240C0}" dt="2024-06-25T10:47:10.566" v="1052"/>
          <ac:picMkLst>
            <pc:docMk/>
            <pc:sldMk cId="1244305718" sldId="684"/>
            <ac:picMk id="6" creationId="{435FA8C3-BB4E-0796-3759-9B3A023D64C3}"/>
          </ac:picMkLst>
        </pc:picChg>
        <pc:picChg chg="add del mod">
          <ac:chgData name="Tagari, Eleni" userId="698b4a75-4965-49df-b4c2-d2566eb8ce59" providerId="ADAL" clId="{20262A46-C498-4E81-BDBF-79E78A3240C0}" dt="2024-06-22T19:29:13.332" v="113" actId="478"/>
          <ac:picMkLst>
            <pc:docMk/>
            <pc:sldMk cId="1244305718" sldId="684"/>
            <ac:picMk id="6" creationId="{A88D8301-8388-7836-8113-FF539E19B18F}"/>
          </ac:picMkLst>
        </pc:picChg>
        <pc:picChg chg="add del mod ord">
          <ac:chgData name="Tagari, Eleni" userId="698b4a75-4965-49df-b4c2-d2566eb8ce59" providerId="ADAL" clId="{20262A46-C498-4E81-BDBF-79E78A3240C0}" dt="2024-06-25T10:47:12.073" v="1065" actId="478"/>
          <ac:picMkLst>
            <pc:docMk/>
            <pc:sldMk cId="1244305718" sldId="684"/>
            <ac:picMk id="7" creationId="{55D26F9B-FB36-E757-9835-AAEE892E3F27}"/>
          </ac:picMkLst>
        </pc:picChg>
        <pc:picChg chg="add del mod ord">
          <ac:chgData name="Tagari, Eleni" userId="698b4a75-4965-49df-b4c2-d2566eb8ce59" providerId="ADAL" clId="{20262A46-C498-4E81-BDBF-79E78A3240C0}" dt="2024-06-25T10:39:46.816" v="774" actId="478"/>
          <ac:picMkLst>
            <pc:docMk/>
            <pc:sldMk cId="1244305718" sldId="684"/>
            <ac:picMk id="9" creationId="{12BB535F-CBB9-652F-D936-7184C551542B}"/>
          </ac:picMkLst>
        </pc:picChg>
        <pc:picChg chg="del">
          <ac:chgData name="Tagari, Eleni" userId="698b4a75-4965-49df-b4c2-d2566eb8ce59" providerId="ADAL" clId="{20262A46-C498-4E81-BDBF-79E78A3240C0}" dt="2024-06-22T19:22:56.491" v="10" actId="478"/>
          <ac:picMkLst>
            <pc:docMk/>
            <pc:sldMk cId="1244305718" sldId="684"/>
            <ac:picMk id="10" creationId="{5760315C-D21E-5ED8-0818-63DF9563ACCC}"/>
          </ac:picMkLst>
        </pc:picChg>
      </pc:sldChg>
      <pc:sldChg chg="addSp delSp modSp mod">
        <pc:chgData name="Tagari, Eleni" userId="698b4a75-4965-49df-b4c2-d2566eb8ce59" providerId="ADAL" clId="{20262A46-C498-4E81-BDBF-79E78A3240C0}" dt="2024-06-25T10:46:51.531" v="1028" actId="478"/>
        <pc:sldMkLst>
          <pc:docMk/>
          <pc:sldMk cId="145256382" sldId="685"/>
        </pc:sldMkLst>
        <pc:spChg chg="mod ord">
          <ac:chgData name="Tagari, Eleni" userId="698b4a75-4965-49df-b4c2-d2566eb8ce59" providerId="ADAL" clId="{20262A46-C498-4E81-BDBF-79E78A3240C0}" dt="2024-06-25T10:46:49.433" v="1019"/>
          <ac:spMkLst>
            <pc:docMk/>
            <pc:sldMk cId="145256382" sldId="685"/>
            <ac:spMk id="2" creationId="{9F3E775B-9702-BEF4-0954-37963C774A8A}"/>
          </ac:spMkLst>
        </pc:spChg>
        <pc:spChg chg="add del mod modVis">
          <ac:chgData name="Tagari, Eleni" userId="698b4a75-4965-49df-b4c2-d2566eb8ce59" providerId="ADAL" clId="{20262A46-C498-4E81-BDBF-79E78A3240C0}" dt="2024-06-25T10:40:30.774" v="825"/>
          <ac:spMkLst>
            <pc:docMk/>
            <pc:sldMk cId="145256382" sldId="685"/>
            <ac:spMk id="7" creationId="{D207CD56-4C26-33DB-0A1A-8BA417F06BFD}"/>
          </ac:spMkLst>
        </pc:spChg>
        <pc:graphicFrameChg chg="mod ord modGraphic">
          <ac:chgData name="Tagari, Eleni" userId="698b4a75-4965-49df-b4c2-d2566eb8ce59" providerId="ADAL" clId="{20262A46-C498-4E81-BDBF-79E78A3240C0}" dt="2024-06-25T10:46:49.433" v="1021"/>
          <ac:graphicFrameMkLst>
            <pc:docMk/>
            <pc:sldMk cId="145256382" sldId="685"/>
            <ac:graphicFrameMk id="4" creationId="{F06AFABE-116A-A726-2959-9DE4F5BAB1E3}"/>
          </ac:graphicFrameMkLst>
        </pc:graphicFrameChg>
        <pc:graphicFrameChg chg="mod">
          <ac:chgData name="Tagari, Eleni" userId="698b4a75-4965-49df-b4c2-d2566eb8ce59" providerId="ADAL" clId="{20262A46-C498-4E81-BDBF-79E78A3240C0}" dt="2024-06-25T10:46:49.438" v="1027"/>
          <ac:graphicFrameMkLst>
            <pc:docMk/>
            <pc:sldMk cId="145256382" sldId="685"/>
            <ac:graphicFrameMk id="9348" creationId="{31CC81B2-E356-7499-CE74-93208569F229}"/>
          </ac:graphicFrameMkLst>
        </pc:graphicFrameChg>
        <pc:picChg chg="add del mod ord">
          <ac:chgData name="Tagari, Eleni" userId="698b4a75-4965-49df-b4c2-d2566eb8ce59" providerId="ADAL" clId="{20262A46-C498-4E81-BDBF-79E78A3240C0}" dt="2024-06-25T10:40:33.007" v="828" actId="478"/>
          <ac:picMkLst>
            <pc:docMk/>
            <pc:sldMk cId="145256382" sldId="685"/>
            <ac:picMk id="5" creationId="{595ECABF-69E1-7090-E5C6-DCCCA3241E21}"/>
          </ac:picMkLst>
        </pc:picChg>
        <pc:picChg chg="add mod ord">
          <ac:chgData name="Tagari, Eleni" userId="698b4a75-4965-49df-b4c2-d2566eb8ce59" providerId="ADAL" clId="{20262A46-C498-4E81-BDBF-79E78A3240C0}" dt="2024-06-25T10:46:49.432" v="1015"/>
          <ac:picMkLst>
            <pc:docMk/>
            <pc:sldMk cId="145256382" sldId="685"/>
            <ac:picMk id="6" creationId="{66B75DC7-AB55-A629-AB9E-CBC652014E27}"/>
          </ac:picMkLst>
        </pc:picChg>
        <pc:picChg chg="add del mod ord">
          <ac:chgData name="Tagari, Eleni" userId="698b4a75-4965-49df-b4c2-d2566eb8ce59" providerId="ADAL" clId="{20262A46-C498-4E81-BDBF-79E78A3240C0}" dt="2024-06-25T10:46:51.531" v="1028" actId="478"/>
          <ac:picMkLst>
            <pc:docMk/>
            <pc:sldMk cId="145256382" sldId="685"/>
            <ac:picMk id="8" creationId="{C917E71E-ED14-1C20-8D77-2506F1FCD5DE}"/>
          </ac:picMkLst>
        </pc:picChg>
        <pc:picChg chg="mod ord">
          <ac:chgData name="Tagari, Eleni" userId="698b4a75-4965-49df-b4c2-d2566eb8ce59" providerId="ADAL" clId="{20262A46-C498-4E81-BDBF-79E78A3240C0}" dt="2024-06-25T10:46:49.433" v="1023"/>
          <ac:picMkLst>
            <pc:docMk/>
            <pc:sldMk cId="145256382" sldId="685"/>
            <ac:picMk id="9345" creationId="{B2951291-8642-2B5C-6A80-43FDDFAA7A95}"/>
          </ac:picMkLst>
        </pc:picChg>
        <pc:picChg chg="del">
          <ac:chgData name="Tagari, Eleni" userId="698b4a75-4965-49df-b4c2-d2566eb8ce59" providerId="ADAL" clId="{20262A46-C498-4E81-BDBF-79E78A3240C0}" dt="2024-06-22T19:23:33.401" v="17" actId="478"/>
          <ac:picMkLst>
            <pc:docMk/>
            <pc:sldMk cId="145256382" sldId="685"/>
            <ac:picMk id="9347" creationId="{9D576EF6-57A6-F4E8-B694-422F1C0EA88C}"/>
          </ac:picMkLst>
        </pc:picChg>
      </pc:sldChg>
      <pc:sldChg chg="del">
        <pc:chgData name="Tagari, Eleni" userId="698b4a75-4965-49df-b4c2-d2566eb8ce59" providerId="ADAL" clId="{20262A46-C498-4E81-BDBF-79E78A3240C0}" dt="2024-06-22T19:22:41.973" v="8" actId="47"/>
        <pc:sldMkLst>
          <pc:docMk/>
          <pc:sldMk cId="149967293" sldId="686"/>
        </pc:sldMkLst>
      </pc:sldChg>
      <pc:sldChg chg="addSp delSp modSp add mod modNotesTx">
        <pc:chgData name="Tagari, Eleni" userId="698b4a75-4965-49df-b4c2-d2566eb8ce59" providerId="ADAL" clId="{20262A46-C498-4E81-BDBF-79E78A3240C0}" dt="2024-06-22T19:44:02.973" v="327" actId="20577"/>
        <pc:sldMkLst>
          <pc:docMk/>
          <pc:sldMk cId="2960244551" sldId="687"/>
        </pc:sldMkLst>
        <pc:picChg chg="add mod">
          <ac:chgData name="Tagari, Eleni" userId="698b4a75-4965-49df-b4c2-d2566eb8ce59" providerId="ADAL" clId="{20262A46-C498-4E81-BDBF-79E78A3240C0}" dt="2024-06-22T19:21:17.027" v="7" actId="14100"/>
          <ac:picMkLst>
            <pc:docMk/>
            <pc:sldMk cId="2960244551" sldId="687"/>
            <ac:picMk id="5" creationId="{321A8449-3FD5-35A0-723D-4D7877089FEF}"/>
          </ac:picMkLst>
        </pc:picChg>
        <pc:picChg chg="del">
          <ac:chgData name="Tagari, Eleni" userId="698b4a75-4965-49df-b4c2-d2566eb8ce59" providerId="ADAL" clId="{20262A46-C498-4E81-BDBF-79E78A3240C0}" dt="2024-06-22T19:21:03.015" v="5" actId="478"/>
          <ac:picMkLst>
            <pc:docMk/>
            <pc:sldMk cId="2960244551" sldId="687"/>
            <ac:picMk id="9" creationId="{466B2BF8-074C-BC82-DB17-352BD653C92E}"/>
          </ac:picMkLst>
        </pc:picChg>
      </pc:sldChg>
    </pc:docChg>
  </pc:docChgLst>
  <pc:docChgLst>
    <pc:chgData name="Tagari, Eleni" userId="698b4a75-4965-49df-b4c2-d2566eb8ce59" providerId="ADAL" clId="{F1565AB1-D12C-4FE7-88BB-9BA1FEF36CE3}"/>
    <pc:docChg chg="custSel delSld modSld">
      <pc:chgData name="Tagari, Eleni" userId="698b4a75-4965-49df-b4c2-d2566eb8ce59" providerId="ADAL" clId="{F1565AB1-D12C-4FE7-88BB-9BA1FEF36CE3}" dt="2024-07-08T06:30:38.981" v="16" actId="6549"/>
      <pc:docMkLst>
        <pc:docMk/>
      </pc:docMkLst>
      <pc:sldChg chg="delSp mod modNotesTx">
        <pc:chgData name="Tagari, Eleni" userId="698b4a75-4965-49df-b4c2-d2566eb8ce59" providerId="ADAL" clId="{F1565AB1-D12C-4FE7-88BB-9BA1FEF36CE3}" dt="2024-07-08T06:30:23.827" v="15" actId="6549"/>
        <pc:sldMkLst>
          <pc:docMk/>
          <pc:sldMk cId="688923574" sldId="257"/>
        </pc:sldMkLst>
        <pc:picChg chg="del">
          <ac:chgData name="Tagari, Eleni" userId="698b4a75-4965-49df-b4c2-d2566eb8ce59" providerId="ADAL" clId="{F1565AB1-D12C-4FE7-88BB-9BA1FEF36CE3}" dt="2024-07-08T06:29:47.257" v="1" actId="478"/>
          <ac:picMkLst>
            <pc:docMk/>
            <pc:sldMk cId="688923574" sldId="257"/>
            <ac:picMk id="158" creationId="{41BB6174-030D-BC8D-E6BF-368A1C675450}"/>
          </ac:picMkLst>
        </pc:picChg>
      </pc:sldChg>
      <pc:sldChg chg="del">
        <pc:chgData name="Tagari, Eleni" userId="698b4a75-4965-49df-b4c2-d2566eb8ce59" providerId="ADAL" clId="{F1565AB1-D12C-4FE7-88BB-9BA1FEF36CE3}" dt="2024-07-08T06:30:01.913" v="8" actId="47"/>
        <pc:sldMkLst>
          <pc:docMk/>
          <pc:sldMk cId="1712967072" sldId="332"/>
        </pc:sldMkLst>
      </pc:sldChg>
      <pc:sldChg chg="del">
        <pc:chgData name="Tagari, Eleni" userId="698b4a75-4965-49df-b4c2-d2566eb8ce59" providerId="ADAL" clId="{F1565AB1-D12C-4FE7-88BB-9BA1FEF36CE3}" dt="2024-07-08T06:29:45.706" v="0" actId="47"/>
        <pc:sldMkLst>
          <pc:docMk/>
          <pc:sldMk cId="2045210735" sldId="333"/>
        </pc:sldMkLst>
      </pc:sldChg>
      <pc:sldChg chg="delSp mod modNotesTx">
        <pc:chgData name="Tagari, Eleni" userId="698b4a75-4965-49df-b4c2-d2566eb8ce59" providerId="ADAL" clId="{F1565AB1-D12C-4FE7-88BB-9BA1FEF36CE3}" dt="2024-07-08T06:30:06.973" v="10" actId="6549"/>
        <pc:sldMkLst>
          <pc:docMk/>
          <pc:sldMk cId="2931822860" sldId="337"/>
        </pc:sldMkLst>
        <pc:picChg chg="del">
          <ac:chgData name="Tagari, Eleni" userId="698b4a75-4965-49df-b4c2-d2566eb8ce59" providerId="ADAL" clId="{F1565AB1-D12C-4FE7-88BB-9BA1FEF36CE3}" dt="2024-07-08T06:29:57.486" v="6" actId="478"/>
          <ac:picMkLst>
            <pc:docMk/>
            <pc:sldMk cId="2931822860" sldId="337"/>
            <ac:picMk id="3" creationId="{FA7B76A0-56FC-AFE3-56C8-23A5404DFCE2}"/>
          </ac:picMkLst>
        </pc:picChg>
      </pc:sldChg>
      <pc:sldChg chg="delSp modSp mod modNotesTx">
        <pc:chgData name="Tagari, Eleni" userId="698b4a75-4965-49df-b4c2-d2566eb8ce59" providerId="ADAL" clId="{F1565AB1-D12C-4FE7-88BB-9BA1FEF36CE3}" dt="2024-07-08T06:30:38.981" v="16" actId="6549"/>
        <pc:sldMkLst>
          <pc:docMk/>
          <pc:sldMk cId="2251746133" sldId="346"/>
        </pc:sldMkLst>
        <pc:spChg chg="mod">
          <ac:chgData name="Tagari, Eleni" userId="698b4a75-4965-49df-b4c2-d2566eb8ce59" providerId="ADAL" clId="{F1565AB1-D12C-4FE7-88BB-9BA1FEF36CE3}" dt="2024-07-08T06:30:38.981" v="16" actId="6549"/>
          <ac:spMkLst>
            <pc:docMk/>
            <pc:sldMk cId="2251746133" sldId="346"/>
            <ac:spMk id="20" creationId="{6B5A2FF8-A32F-B20E-FE99-C85B8B353237}"/>
          </ac:spMkLst>
        </pc:spChg>
        <pc:picChg chg="del">
          <ac:chgData name="Tagari, Eleni" userId="698b4a75-4965-49df-b4c2-d2566eb8ce59" providerId="ADAL" clId="{F1565AB1-D12C-4FE7-88BB-9BA1FEF36CE3}" dt="2024-07-08T06:29:59.276" v="7" actId="478"/>
          <ac:picMkLst>
            <pc:docMk/>
            <pc:sldMk cId="2251746133" sldId="346"/>
            <ac:picMk id="2" creationId="{C7C61D22-CE90-9335-84E6-B84FE675FF45}"/>
          </ac:picMkLst>
        </pc:picChg>
      </pc:sldChg>
      <pc:sldChg chg="delSp mod modNotesTx">
        <pc:chgData name="Tagari, Eleni" userId="698b4a75-4965-49df-b4c2-d2566eb8ce59" providerId="ADAL" clId="{F1565AB1-D12C-4FE7-88BB-9BA1FEF36CE3}" dt="2024-07-08T06:30:10.137" v="11" actId="6549"/>
        <pc:sldMkLst>
          <pc:docMk/>
          <pc:sldMk cId="302238074" sldId="683"/>
        </pc:sldMkLst>
        <pc:picChg chg="del">
          <ac:chgData name="Tagari, Eleni" userId="698b4a75-4965-49df-b4c2-d2566eb8ce59" providerId="ADAL" clId="{F1565AB1-D12C-4FE7-88BB-9BA1FEF36CE3}" dt="2024-07-08T06:29:55.814" v="5" actId="478"/>
          <ac:picMkLst>
            <pc:docMk/>
            <pc:sldMk cId="302238074" sldId="683"/>
            <ac:picMk id="3" creationId="{29DCE231-8164-C2E1-FCCB-3FD1D1BD51D3}"/>
          </ac:picMkLst>
        </pc:picChg>
      </pc:sldChg>
      <pc:sldChg chg="delSp mod modNotesTx">
        <pc:chgData name="Tagari, Eleni" userId="698b4a75-4965-49df-b4c2-d2566eb8ce59" providerId="ADAL" clId="{F1565AB1-D12C-4FE7-88BB-9BA1FEF36CE3}" dt="2024-07-08T06:30:15.677" v="13" actId="6549"/>
        <pc:sldMkLst>
          <pc:docMk/>
          <pc:sldMk cId="1244305718" sldId="684"/>
        </pc:sldMkLst>
        <pc:picChg chg="del">
          <ac:chgData name="Tagari, Eleni" userId="698b4a75-4965-49df-b4c2-d2566eb8ce59" providerId="ADAL" clId="{F1565AB1-D12C-4FE7-88BB-9BA1FEF36CE3}" dt="2024-07-08T06:29:52.036" v="3" actId="478"/>
          <ac:picMkLst>
            <pc:docMk/>
            <pc:sldMk cId="1244305718" sldId="684"/>
            <ac:picMk id="3" creationId="{96938FD1-0F11-9A47-7511-F833AD6DF529}"/>
          </ac:picMkLst>
        </pc:picChg>
      </pc:sldChg>
      <pc:sldChg chg="delSp mod modNotesTx">
        <pc:chgData name="Tagari, Eleni" userId="698b4a75-4965-49df-b4c2-d2566eb8ce59" providerId="ADAL" clId="{F1565AB1-D12C-4FE7-88BB-9BA1FEF36CE3}" dt="2024-07-08T06:30:12.633" v="12" actId="6549"/>
        <pc:sldMkLst>
          <pc:docMk/>
          <pc:sldMk cId="145256382" sldId="685"/>
        </pc:sldMkLst>
        <pc:picChg chg="del">
          <ac:chgData name="Tagari, Eleni" userId="698b4a75-4965-49df-b4c2-d2566eb8ce59" providerId="ADAL" clId="{F1565AB1-D12C-4FE7-88BB-9BA1FEF36CE3}" dt="2024-07-08T06:29:53.865" v="4" actId="478"/>
          <ac:picMkLst>
            <pc:docMk/>
            <pc:sldMk cId="145256382" sldId="685"/>
            <ac:picMk id="9345" creationId="{B2951291-8642-2B5C-6A80-43FDDFAA7A95}"/>
          </ac:picMkLst>
        </pc:picChg>
      </pc:sldChg>
      <pc:sldChg chg="delSp mod modNotesTx">
        <pc:chgData name="Tagari, Eleni" userId="698b4a75-4965-49df-b4c2-d2566eb8ce59" providerId="ADAL" clId="{F1565AB1-D12C-4FE7-88BB-9BA1FEF36CE3}" dt="2024-07-08T06:30:18.478" v="14" actId="6549"/>
        <pc:sldMkLst>
          <pc:docMk/>
          <pc:sldMk cId="2960244551" sldId="687"/>
        </pc:sldMkLst>
        <pc:picChg chg="del">
          <ac:chgData name="Tagari, Eleni" userId="698b4a75-4965-49df-b4c2-d2566eb8ce59" providerId="ADAL" clId="{F1565AB1-D12C-4FE7-88BB-9BA1FEF36CE3}" dt="2024-07-08T06:29:49.709" v="2" actId="478"/>
          <ac:picMkLst>
            <pc:docMk/>
            <pc:sldMk cId="2960244551" sldId="687"/>
            <ac:picMk id="2" creationId="{A754AB48-9608-DFC5-ABBE-5C1EF7DCD279}"/>
          </ac:picMkLst>
        </pc:picChg>
      </pc:sldChg>
      <pc:sldMasterChg chg="delSldLayout">
        <pc:chgData name="Tagari, Eleni" userId="698b4a75-4965-49df-b4c2-d2566eb8ce59" providerId="ADAL" clId="{F1565AB1-D12C-4FE7-88BB-9BA1FEF36CE3}" dt="2024-07-08T06:29:45.706" v="0" actId="47"/>
        <pc:sldMasterMkLst>
          <pc:docMk/>
          <pc:sldMasterMk cId="2936477346" sldId="2147483648"/>
        </pc:sldMasterMkLst>
        <pc:sldLayoutChg chg="del">
          <pc:chgData name="Tagari, Eleni" userId="698b4a75-4965-49df-b4c2-d2566eb8ce59" providerId="ADAL" clId="{F1565AB1-D12C-4FE7-88BB-9BA1FEF36CE3}" dt="2024-07-08T06:29:45.706" v="0" actId="47"/>
          <pc:sldLayoutMkLst>
            <pc:docMk/>
            <pc:sldMasterMk cId="2936477346" sldId="2147483648"/>
            <pc:sldLayoutMk cId="2547810721" sldId="214748370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6913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031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21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084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067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806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6340D0B-A7C3-C830-A2CB-4BFC8945D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014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51362A-FAEC-19EB-2886-7AA16D3262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93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81842B72-DE57-7161-E5B4-2856221FB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910" y="-18852"/>
            <a:ext cx="7559026" cy="687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56E66-D74D-0BBB-B15D-AE753AE25B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9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9013A0-9540-B77E-5C8B-135A1EAC3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6A8D85-3AAF-B822-7DFA-05E9E81C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9200-3709-4C17-209D-573B471942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828B8A-B13C-F5A0-BA71-F6A62D77E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708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17E0D5-FE68-293B-96FB-3712722DAC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0B04CB88-E642-883E-3304-60C8788AB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4004310"/>
            <a:ext cx="1671637" cy="207835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7C20C0D-2FE9-6A74-C138-7BC872F18F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0324" y="0"/>
            <a:ext cx="5861676" cy="6858000"/>
          </a:xfrm>
          <a:custGeom>
            <a:avLst/>
            <a:gdLst>
              <a:gd name="connsiteX0" fmla="*/ 0 w 4081463"/>
              <a:gd name="connsiteY0" fmla="*/ 0 h 4775200"/>
              <a:gd name="connsiteX1" fmla="*/ 4081463 w 4081463"/>
              <a:gd name="connsiteY1" fmla="*/ 0 h 4775200"/>
              <a:gd name="connsiteX2" fmla="*/ 4081463 w 4081463"/>
              <a:gd name="connsiteY2" fmla="*/ 1513252 h 4775200"/>
              <a:gd name="connsiteX3" fmla="*/ 3994130 w 4081463"/>
              <a:gd name="connsiteY3" fmla="*/ 1557467 h 4775200"/>
              <a:gd name="connsiteX4" fmla="*/ 2382328 w 4081463"/>
              <a:gd name="connsiteY4" fmla="*/ 2488189 h 4775200"/>
              <a:gd name="connsiteX5" fmla="*/ 2041837 w 4081463"/>
              <a:gd name="connsiteY5" fmla="*/ 3758259 h 4775200"/>
              <a:gd name="connsiteX6" fmla="*/ 2166757 w 4081463"/>
              <a:gd name="connsiteY6" fmla="*/ 4223620 h 4775200"/>
              <a:gd name="connsiteX7" fmla="*/ 1985457 w 4081463"/>
              <a:gd name="connsiteY7" fmla="*/ 4775200 h 4775200"/>
              <a:gd name="connsiteX8" fmla="*/ 0 w 4081463"/>
              <a:gd name="connsiteY8" fmla="*/ 4775200 h 4775200"/>
              <a:gd name="connsiteX9" fmla="*/ 0 w 4081463"/>
              <a:gd name="connsiteY9" fmla="*/ 0 h 47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1463" h="4775200">
                <a:moveTo>
                  <a:pt x="0" y="0"/>
                </a:moveTo>
                <a:cubicBezTo>
                  <a:pt x="0" y="0"/>
                  <a:pt x="0" y="0"/>
                  <a:pt x="4081463" y="0"/>
                </a:cubicBezTo>
                <a:cubicBezTo>
                  <a:pt x="4081463" y="0"/>
                  <a:pt x="4081463" y="0"/>
                  <a:pt x="4081463" y="1513252"/>
                </a:cubicBezTo>
                <a:cubicBezTo>
                  <a:pt x="4051615" y="1526517"/>
                  <a:pt x="4021767" y="1540886"/>
                  <a:pt x="3994130" y="1557467"/>
                </a:cubicBezTo>
                <a:cubicBezTo>
                  <a:pt x="3994130" y="1557467"/>
                  <a:pt x="3994130" y="1557467"/>
                  <a:pt x="2382328" y="2488189"/>
                </a:cubicBezTo>
                <a:cubicBezTo>
                  <a:pt x="1936816" y="2744635"/>
                  <a:pt x="1785364" y="3313900"/>
                  <a:pt x="2041837" y="3758259"/>
                </a:cubicBezTo>
                <a:cubicBezTo>
                  <a:pt x="2121432" y="3895325"/>
                  <a:pt x="2166757" y="4054499"/>
                  <a:pt x="2166757" y="4223620"/>
                </a:cubicBezTo>
                <a:cubicBezTo>
                  <a:pt x="2166757" y="4430325"/>
                  <a:pt x="2099323" y="4620448"/>
                  <a:pt x="1985457" y="4775200"/>
                </a:cubicBezTo>
                <a:lnTo>
                  <a:pt x="0" y="4775200"/>
                </a:lnTo>
                <a:cubicBezTo>
                  <a:pt x="0" y="4775200"/>
                  <a:pt x="0" y="4775200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F3BB2-5301-A93B-07D5-7F5129983F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gradient&#10;&#10;Description automatically generated">
            <a:extLst>
              <a:ext uri="{FF2B5EF4-FFF2-40B4-BE49-F238E27FC236}">
                <a16:creationId xmlns:a16="http://schemas.microsoft.com/office/drawing/2014/main" id="{72EC2625-A38D-61B4-9C4E-7AAF537F3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40" y="4761"/>
            <a:ext cx="58952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E152E3B-E177-1B16-46B4-B021D02EEE3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8292" y="-2"/>
            <a:ext cx="5853707" cy="6588000"/>
          </a:xfrm>
          <a:custGeom>
            <a:avLst/>
            <a:gdLst>
              <a:gd name="connsiteX0" fmla="*/ 0 w 4592638"/>
              <a:gd name="connsiteY0" fmla="*/ 0 h 5159375"/>
              <a:gd name="connsiteX1" fmla="*/ 4592638 w 4592638"/>
              <a:gd name="connsiteY1" fmla="*/ 0 h 5159375"/>
              <a:gd name="connsiteX2" fmla="*/ 4592638 w 4592638"/>
              <a:gd name="connsiteY2" fmla="*/ 4626762 h 5159375"/>
              <a:gd name="connsiteX3" fmla="*/ 4149674 w 4592638"/>
              <a:gd name="connsiteY3" fmla="*/ 4486143 h 5159375"/>
              <a:gd name="connsiteX4" fmla="*/ 3755238 w 4592638"/>
              <a:gd name="connsiteY4" fmla="*/ 4091661 h 5159375"/>
              <a:gd name="connsiteX5" fmla="*/ 3753993 w 4592638"/>
              <a:gd name="connsiteY5" fmla="*/ 4089172 h 5159375"/>
              <a:gd name="connsiteX6" fmla="*/ 2270811 w 4592638"/>
              <a:gd name="connsiteY6" fmla="*/ 3693446 h 5159375"/>
              <a:gd name="connsiteX7" fmla="*/ 389460 w 4592638"/>
              <a:gd name="connsiteY7" fmla="*/ 4776093 h 5159375"/>
              <a:gd name="connsiteX8" fmla="*/ 0 w 4592638"/>
              <a:gd name="connsiteY8" fmla="*/ 5159375 h 5159375"/>
              <a:gd name="connsiteX9" fmla="*/ 0 w 4592638"/>
              <a:gd name="connsiteY9" fmla="*/ 0 h 515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92638" h="5159375">
                <a:moveTo>
                  <a:pt x="0" y="0"/>
                </a:moveTo>
                <a:cubicBezTo>
                  <a:pt x="0" y="0"/>
                  <a:pt x="0" y="0"/>
                  <a:pt x="4592638" y="0"/>
                </a:cubicBezTo>
                <a:cubicBezTo>
                  <a:pt x="4592638" y="0"/>
                  <a:pt x="4592638" y="0"/>
                  <a:pt x="4592638" y="4626762"/>
                </a:cubicBezTo>
                <a:cubicBezTo>
                  <a:pt x="4440836" y="4613074"/>
                  <a:pt x="4290278" y="4567030"/>
                  <a:pt x="4149674" y="4486143"/>
                </a:cubicBezTo>
                <a:cubicBezTo>
                  <a:pt x="3980452" y="4387833"/>
                  <a:pt x="3847314" y="4250947"/>
                  <a:pt x="3755238" y="4091661"/>
                </a:cubicBezTo>
                <a:cubicBezTo>
                  <a:pt x="3755238" y="4090416"/>
                  <a:pt x="3753993" y="4090416"/>
                  <a:pt x="3753993" y="4089172"/>
                </a:cubicBezTo>
                <a:cubicBezTo>
                  <a:pt x="3454122" y="3570248"/>
                  <a:pt x="2789676" y="3393540"/>
                  <a:pt x="2270811" y="3693446"/>
                </a:cubicBezTo>
                <a:cubicBezTo>
                  <a:pt x="2270811" y="3693446"/>
                  <a:pt x="2270811" y="3693446"/>
                  <a:pt x="389460" y="4776093"/>
                </a:cubicBezTo>
                <a:cubicBezTo>
                  <a:pt x="233925" y="4865692"/>
                  <a:pt x="98298" y="4995112"/>
                  <a:pt x="0" y="5159375"/>
                </a:cubicBezTo>
                <a:cubicBezTo>
                  <a:pt x="0" y="5159375"/>
                  <a:pt x="0" y="5159375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31B40A-1E44-3228-9BF2-F7BB26BBC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62E096-A235-2AF4-53E4-CAEC001F3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587708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7ADA54-B020-8720-2417-FC05382B1A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1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pink gradient&#10;&#10;Description automatically generated">
            <a:extLst>
              <a:ext uri="{FF2B5EF4-FFF2-40B4-BE49-F238E27FC236}">
                <a16:creationId xmlns:a16="http://schemas.microsoft.com/office/drawing/2014/main" id="{4CFC4D6F-F4FC-EC45-2FC3-20D2A4C97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468" y="-207409"/>
            <a:ext cx="32781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5036251"/>
            <a:ext cx="1733550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CB4DF3-2ECC-10A9-A07B-6BB73D015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1" y="1998482"/>
            <a:ext cx="11168062" cy="4050866"/>
          </a:xfrm>
          <a:custGeom>
            <a:avLst/>
            <a:gdLst>
              <a:gd name="connsiteX0" fmla="*/ 0 w 8275638"/>
              <a:gd name="connsiteY0" fmla="*/ 0 h 3148012"/>
              <a:gd name="connsiteX1" fmla="*/ 8275638 w 8275638"/>
              <a:gd name="connsiteY1" fmla="*/ 0 h 3148012"/>
              <a:gd name="connsiteX2" fmla="*/ 8275638 w 8275638"/>
              <a:gd name="connsiteY2" fmla="*/ 1689924 h 3148012"/>
              <a:gd name="connsiteX3" fmla="*/ 7599716 w 8275638"/>
              <a:gd name="connsiteY3" fmla="*/ 1649912 h 3148012"/>
              <a:gd name="connsiteX4" fmla="*/ 6533522 w 8275638"/>
              <a:gd name="connsiteY4" fmla="*/ 2266569 h 3148012"/>
              <a:gd name="connsiteX5" fmla="*/ 6308999 w 8275638"/>
              <a:gd name="connsiteY5" fmla="*/ 3108000 h 3148012"/>
              <a:gd name="connsiteX6" fmla="*/ 6334860 w 8275638"/>
              <a:gd name="connsiteY6" fmla="*/ 3148012 h 3148012"/>
              <a:gd name="connsiteX7" fmla="*/ 0 w 8275638"/>
              <a:gd name="connsiteY7" fmla="*/ 3148012 h 3148012"/>
              <a:gd name="connsiteX8" fmla="*/ 0 w 8275638"/>
              <a:gd name="connsiteY8" fmla="*/ 0 h 31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5638" h="3148012">
                <a:moveTo>
                  <a:pt x="0" y="0"/>
                </a:moveTo>
                <a:lnTo>
                  <a:pt x="8275638" y="0"/>
                </a:lnTo>
                <a:cubicBezTo>
                  <a:pt x="8275638" y="0"/>
                  <a:pt x="8275638" y="0"/>
                  <a:pt x="8275638" y="1689924"/>
                </a:cubicBezTo>
                <a:cubicBezTo>
                  <a:pt x="8085205" y="1546351"/>
                  <a:pt x="7819537" y="1522814"/>
                  <a:pt x="7599716" y="1649912"/>
                </a:cubicBezTo>
                <a:cubicBezTo>
                  <a:pt x="7599716" y="1649912"/>
                  <a:pt x="7599716" y="1649912"/>
                  <a:pt x="6533522" y="2266569"/>
                </a:cubicBezTo>
                <a:cubicBezTo>
                  <a:pt x="6239643" y="2436032"/>
                  <a:pt x="6139724" y="2813793"/>
                  <a:pt x="6308999" y="3108000"/>
                </a:cubicBezTo>
                <a:cubicBezTo>
                  <a:pt x="6317227" y="3122122"/>
                  <a:pt x="6325456" y="3135067"/>
                  <a:pt x="6334860" y="3148012"/>
                </a:cubicBezTo>
                <a:cubicBezTo>
                  <a:pt x="6334860" y="3148012"/>
                  <a:pt x="6334860" y="3148012"/>
                  <a:pt x="0" y="3148012"/>
                </a:cubicBezTo>
                <a:cubicBezTo>
                  <a:pt x="0" y="3148012"/>
                  <a:pt x="0" y="3148012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A76F64-7E6B-C614-FA9C-E2B5800F52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6611B9-A111-0371-1540-E3774806C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AFB7D1-199C-2638-797C-B9402EE44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47A8A2-4A55-4B95-96AB-F65A41B20B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Black Logo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0E1E5D-3598-B9E9-650D-49A26AC42F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97002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774A33-9D98-74B8-11C8-77CDA36224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091EEB-ACD3-D88E-200B-3AD83B1B0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E65450-2025-A6AF-3AD8-0E7645DBEA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FB642-D312-EEE1-38AD-7C96AFA1F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8F09ED-5562-BAFA-DF2C-9805A4826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2490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8A02B4-2B0C-5EA0-BE28-AFD590245A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958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background with a white circle&#10;&#10;Description automatically generated">
            <a:extLst>
              <a:ext uri="{FF2B5EF4-FFF2-40B4-BE49-F238E27FC236}">
                <a16:creationId xmlns:a16="http://schemas.microsoft.com/office/drawing/2014/main" id="{D8D2F2BA-B806-ECC0-C680-5177E7CFB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1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5E6AA5-DA5B-084B-4D3F-63E593DDD8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orange background&#10;&#10;Description automatically generated">
            <a:extLst>
              <a:ext uri="{FF2B5EF4-FFF2-40B4-BE49-F238E27FC236}">
                <a16:creationId xmlns:a16="http://schemas.microsoft.com/office/drawing/2014/main" id="{52B78836-D270-8BD3-A8B5-AC1F92081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" y="0"/>
            <a:ext cx="11137392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18729C-FEDC-A5A2-C0C2-EBACC14EB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6726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BAC1AC-37C3-5A56-E214-FA1ACE31EB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liquid shapes on a white background&#10;&#10;Description automatically generated">
            <a:extLst>
              <a:ext uri="{FF2B5EF4-FFF2-40B4-BE49-F238E27FC236}">
                <a16:creationId xmlns:a16="http://schemas.microsoft.com/office/drawing/2014/main" id="{A067476D-E3CA-C006-8AF2-F6334DF7B7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52" y="0"/>
            <a:ext cx="6251448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14474"/>
            <a:ext cx="7272337" cy="4537075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5FD5AC-2B1C-3D07-7A6B-8C2B010AE4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92B721-B8D9-28BA-665E-560C06532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9469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10D9AA-1C89-877F-1CBC-C143A8F7A1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18B680-73BC-DEA5-8E0D-7459F6F27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893FA3-7766-305B-C9E2-BA18D1C2F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43D3B1-4799-7E1B-EA31-4F990C676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19B538-DD82-54D8-8FF2-6184EC2D8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D71F6C-2F63-0DCF-BED2-E7AFF5AF5A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6448F3-0B04-E471-B713-F1893B39E9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25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1174700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47440-5016-B541-7D6A-5BD45E933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7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066F47-2899-6B2C-AE22-1C43D98EE9A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587031" y="0"/>
            <a:ext cx="6604969" cy="6858000"/>
          </a:xfrm>
          <a:custGeom>
            <a:avLst/>
            <a:gdLst>
              <a:gd name="connsiteX0" fmla="*/ 853927 w 4806950"/>
              <a:gd name="connsiteY0" fmla="*/ 0 h 4991100"/>
              <a:gd name="connsiteX1" fmla="*/ 4806950 w 4806950"/>
              <a:gd name="connsiteY1" fmla="*/ 0 h 4991100"/>
              <a:gd name="connsiteX2" fmla="*/ 4806950 w 4806950"/>
              <a:gd name="connsiteY2" fmla="*/ 4991100 h 4991100"/>
              <a:gd name="connsiteX3" fmla="*/ 0 w 4806950"/>
              <a:gd name="connsiteY3" fmla="*/ 4991100 h 4991100"/>
              <a:gd name="connsiteX4" fmla="*/ 461051 w 4806950"/>
              <a:gd name="connsiteY4" fmla="*/ 4325620 h 4991100"/>
              <a:gd name="connsiteX5" fmla="*/ 972945 w 4806950"/>
              <a:gd name="connsiteY5" fmla="*/ 3075534 h 4991100"/>
              <a:gd name="connsiteX6" fmla="*/ 1150895 w 4806950"/>
              <a:gd name="connsiteY6" fmla="*/ 1735332 h 4991100"/>
              <a:gd name="connsiteX7" fmla="*/ 978723 w 4806950"/>
              <a:gd name="connsiteY7" fmla="*/ 395129 h 4991100"/>
              <a:gd name="connsiteX8" fmla="*/ 853927 w 4806950"/>
              <a:gd name="connsiteY8" fmla="*/ 0 h 499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6950" h="4991100">
                <a:moveTo>
                  <a:pt x="853927" y="0"/>
                </a:moveTo>
                <a:cubicBezTo>
                  <a:pt x="853927" y="0"/>
                  <a:pt x="853927" y="0"/>
                  <a:pt x="4806950" y="0"/>
                </a:cubicBezTo>
                <a:lnTo>
                  <a:pt x="4806950" y="4991100"/>
                </a:lnTo>
                <a:cubicBezTo>
                  <a:pt x="4806950" y="4991100"/>
                  <a:pt x="4806950" y="4991100"/>
                  <a:pt x="0" y="4991100"/>
                </a:cubicBezTo>
                <a:cubicBezTo>
                  <a:pt x="168706" y="4785448"/>
                  <a:pt x="323545" y="4563622"/>
                  <a:pt x="461051" y="4325620"/>
                </a:cubicBezTo>
                <a:cubicBezTo>
                  <a:pt x="692155" y="3924715"/>
                  <a:pt x="858549" y="3503013"/>
                  <a:pt x="972945" y="3075534"/>
                </a:cubicBezTo>
                <a:cubicBezTo>
                  <a:pt x="1091964" y="2633036"/>
                  <a:pt x="1150895" y="2183606"/>
                  <a:pt x="1150895" y="1735332"/>
                </a:cubicBezTo>
                <a:cubicBezTo>
                  <a:pt x="1149739" y="1281280"/>
                  <a:pt x="1095430" y="830695"/>
                  <a:pt x="978723" y="395129"/>
                </a:cubicBezTo>
                <a:cubicBezTo>
                  <a:pt x="942902" y="261109"/>
                  <a:pt x="901303" y="129399"/>
                  <a:pt x="853927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A822C7-738C-C36C-9B81-490D98197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4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yellow and orange liquid&#10;&#10;Description automatically generated">
            <a:extLst>
              <a:ext uri="{FF2B5EF4-FFF2-40B4-BE49-F238E27FC236}">
                <a16:creationId xmlns:a16="http://schemas.microsoft.com/office/drawing/2014/main" id="{A1113F07-A0CB-A3E3-0EDA-3A4FBD2A0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00" y="-9426"/>
            <a:ext cx="7061127" cy="68688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5A3139-60F1-043D-8D3D-180EE60F11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279010" y="-1491"/>
            <a:ext cx="6912990" cy="6250312"/>
          </a:xfrm>
          <a:custGeom>
            <a:avLst/>
            <a:gdLst>
              <a:gd name="connsiteX0" fmla="*/ 0 w 4984750"/>
              <a:gd name="connsiteY0" fmla="*/ 0 h 4506913"/>
              <a:gd name="connsiteX1" fmla="*/ 4984750 w 4984750"/>
              <a:gd name="connsiteY1" fmla="*/ 0 h 4506913"/>
              <a:gd name="connsiteX2" fmla="*/ 4984750 w 4984750"/>
              <a:gd name="connsiteY2" fmla="*/ 4506913 h 4506913"/>
              <a:gd name="connsiteX3" fmla="*/ 4870421 w 4984750"/>
              <a:gd name="connsiteY3" fmla="*/ 4448590 h 4506913"/>
              <a:gd name="connsiteX4" fmla="*/ 4697784 w 4984750"/>
              <a:gd name="connsiteY4" fmla="*/ 4325081 h 4506913"/>
              <a:gd name="connsiteX5" fmla="*/ 4645193 w 4984750"/>
              <a:gd name="connsiteY5" fmla="*/ 4275907 h 4506913"/>
              <a:gd name="connsiteX6" fmla="*/ 4471412 w 4984750"/>
              <a:gd name="connsiteY6" fmla="*/ 4050618 h 4506913"/>
              <a:gd name="connsiteX7" fmla="*/ 4362800 w 4984750"/>
              <a:gd name="connsiteY7" fmla="*/ 3787591 h 4506913"/>
              <a:gd name="connsiteX8" fmla="*/ 4326214 w 4984750"/>
              <a:gd name="connsiteY8" fmla="*/ 3505123 h 4506913"/>
              <a:gd name="connsiteX9" fmla="*/ 4326214 w 4984750"/>
              <a:gd name="connsiteY9" fmla="*/ 3503979 h 4506913"/>
              <a:gd name="connsiteX10" fmla="*/ 4325071 w 4984750"/>
              <a:gd name="connsiteY10" fmla="*/ 3503979 h 4506913"/>
              <a:gd name="connsiteX11" fmla="*/ 4287343 w 4984750"/>
              <a:gd name="connsiteY11" fmla="*/ 3221511 h 4506913"/>
              <a:gd name="connsiteX12" fmla="*/ 4179873 w 4984750"/>
              <a:gd name="connsiteY12" fmla="*/ 2958484 h 4506913"/>
              <a:gd name="connsiteX13" fmla="*/ 4006093 w 4984750"/>
              <a:gd name="connsiteY13" fmla="*/ 2733195 h 4506913"/>
              <a:gd name="connsiteX14" fmla="*/ 3779721 w 4984750"/>
              <a:gd name="connsiteY14" fmla="*/ 2559369 h 4506913"/>
              <a:gd name="connsiteX15" fmla="*/ 3517907 w 4984750"/>
              <a:gd name="connsiteY15" fmla="*/ 2450727 h 4506913"/>
              <a:gd name="connsiteX16" fmla="*/ 3235514 w 4984750"/>
              <a:gd name="connsiteY16" fmla="*/ 2414132 h 4506913"/>
              <a:gd name="connsiteX17" fmla="*/ 2953122 w 4984750"/>
              <a:gd name="connsiteY17" fmla="*/ 2450727 h 4506913"/>
              <a:gd name="connsiteX18" fmla="*/ 2690165 w 4984750"/>
              <a:gd name="connsiteY18" fmla="*/ 2559369 h 4506913"/>
              <a:gd name="connsiteX19" fmla="*/ 2427208 w 4984750"/>
              <a:gd name="connsiteY19" fmla="*/ 2666867 h 4506913"/>
              <a:gd name="connsiteX20" fmla="*/ 2144815 w 4984750"/>
              <a:gd name="connsiteY20" fmla="*/ 2704605 h 4506913"/>
              <a:gd name="connsiteX21" fmla="*/ 1862422 w 4984750"/>
              <a:gd name="connsiteY21" fmla="*/ 2668010 h 4506913"/>
              <a:gd name="connsiteX22" fmla="*/ 1600608 w 4984750"/>
              <a:gd name="connsiteY22" fmla="*/ 2558225 h 4506913"/>
              <a:gd name="connsiteX23" fmla="*/ 1426828 w 4984750"/>
              <a:gd name="connsiteY23" fmla="*/ 2434717 h 4506913"/>
              <a:gd name="connsiteX24" fmla="*/ 1374236 w 4984750"/>
              <a:gd name="connsiteY24" fmla="*/ 2385542 h 4506913"/>
              <a:gd name="connsiteX25" fmla="*/ 1200456 w 4984750"/>
              <a:gd name="connsiteY25" fmla="*/ 2160254 h 4506913"/>
              <a:gd name="connsiteX26" fmla="*/ 1027819 w 4984750"/>
              <a:gd name="connsiteY26" fmla="*/ 1860631 h 4506913"/>
              <a:gd name="connsiteX27" fmla="*/ 109756 w 4984750"/>
              <a:gd name="connsiteY27" fmla="*/ 271032 h 4506913"/>
              <a:gd name="connsiteX28" fmla="*/ 2287 w 4984750"/>
              <a:gd name="connsiteY28" fmla="*/ 6862 h 4506913"/>
              <a:gd name="connsiteX29" fmla="*/ 0 w 4984750"/>
              <a:gd name="connsiteY29" fmla="*/ 0 h 4506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84750" h="4506913">
                <a:moveTo>
                  <a:pt x="0" y="0"/>
                </a:moveTo>
                <a:lnTo>
                  <a:pt x="4984750" y="0"/>
                </a:lnTo>
                <a:cubicBezTo>
                  <a:pt x="4984750" y="0"/>
                  <a:pt x="4984750" y="0"/>
                  <a:pt x="4984750" y="4506913"/>
                </a:cubicBezTo>
                <a:cubicBezTo>
                  <a:pt x="4945878" y="4489759"/>
                  <a:pt x="4908150" y="4470318"/>
                  <a:pt x="4870421" y="4448590"/>
                </a:cubicBezTo>
                <a:cubicBezTo>
                  <a:pt x="4809827" y="4414282"/>
                  <a:pt x="4751519" y="4371969"/>
                  <a:pt x="4697784" y="4325081"/>
                </a:cubicBezTo>
                <a:cubicBezTo>
                  <a:pt x="4679491" y="4309071"/>
                  <a:pt x="4662342" y="4293061"/>
                  <a:pt x="4645193" y="4275907"/>
                </a:cubicBezTo>
                <a:cubicBezTo>
                  <a:pt x="4578882" y="4209578"/>
                  <a:pt x="4519431" y="4135244"/>
                  <a:pt x="4471412" y="4050618"/>
                </a:cubicBezTo>
                <a:cubicBezTo>
                  <a:pt x="4422251" y="3965992"/>
                  <a:pt x="4386809" y="3876792"/>
                  <a:pt x="4362800" y="3787591"/>
                </a:cubicBezTo>
                <a:cubicBezTo>
                  <a:pt x="4337647" y="3693816"/>
                  <a:pt x="4326214" y="3598898"/>
                  <a:pt x="4326214" y="3505123"/>
                </a:cubicBezTo>
                <a:cubicBezTo>
                  <a:pt x="4326214" y="3505123"/>
                  <a:pt x="4326214" y="3503979"/>
                  <a:pt x="4326214" y="3503979"/>
                </a:cubicBezTo>
                <a:cubicBezTo>
                  <a:pt x="4326214" y="3503979"/>
                  <a:pt x="4326214" y="3503979"/>
                  <a:pt x="4325071" y="3503979"/>
                </a:cubicBezTo>
                <a:cubicBezTo>
                  <a:pt x="4325071" y="3409061"/>
                  <a:pt x="4312495" y="3315286"/>
                  <a:pt x="4287343" y="3221511"/>
                </a:cubicBezTo>
                <a:cubicBezTo>
                  <a:pt x="4263333" y="3131167"/>
                  <a:pt x="4229035" y="3043110"/>
                  <a:pt x="4179873" y="2958484"/>
                </a:cubicBezTo>
                <a:cubicBezTo>
                  <a:pt x="4130712" y="2873858"/>
                  <a:pt x="4071260" y="2799524"/>
                  <a:pt x="4006093" y="2733195"/>
                </a:cubicBezTo>
                <a:cubicBezTo>
                  <a:pt x="3937495" y="2664579"/>
                  <a:pt x="3862038" y="2607400"/>
                  <a:pt x="3779721" y="2559369"/>
                </a:cubicBezTo>
                <a:cubicBezTo>
                  <a:pt x="3697404" y="2512481"/>
                  <a:pt x="3609371" y="2474743"/>
                  <a:pt x="3517907" y="2450727"/>
                </a:cubicBezTo>
                <a:cubicBezTo>
                  <a:pt x="3426444" y="2425568"/>
                  <a:pt x="3331551" y="2414132"/>
                  <a:pt x="3235514" y="2414132"/>
                </a:cubicBezTo>
                <a:cubicBezTo>
                  <a:pt x="3141765" y="2414132"/>
                  <a:pt x="3046871" y="2426711"/>
                  <a:pt x="2953122" y="2450727"/>
                </a:cubicBezTo>
                <a:cubicBezTo>
                  <a:pt x="2863945" y="2475886"/>
                  <a:pt x="2774768" y="2510194"/>
                  <a:pt x="2690165" y="2559369"/>
                </a:cubicBezTo>
                <a:cubicBezTo>
                  <a:pt x="2605561" y="2608543"/>
                  <a:pt x="2517528" y="2642851"/>
                  <a:pt x="2427208" y="2666867"/>
                </a:cubicBezTo>
                <a:cubicBezTo>
                  <a:pt x="2333458" y="2692026"/>
                  <a:pt x="2239708" y="2704605"/>
                  <a:pt x="2144815" y="2704605"/>
                </a:cubicBezTo>
                <a:cubicBezTo>
                  <a:pt x="2049921" y="2704605"/>
                  <a:pt x="1953885" y="2693169"/>
                  <a:pt x="1862422" y="2668010"/>
                </a:cubicBezTo>
                <a:cubicBezTo>
                  <a:pt x="1770958" y="2643995"/>
                  <a:pt x="1682925" y="2606256"/>
                  <a:pt x="1600608" y="2558225"/>
                </a:cubicBezTo>
                <a:cubicBezTo>
                  <a:pt x="1538870" y="2522774"/>
                  <a:pt x="1480562" y="2481604"/>
                  <a:pt x="1426828" y="2434717"/>
                </a:cubicBezTo>
                <a:cubicBezTo>
                  <a:pt x="1409678" y="2418706"/>
                  <a:pt x="1391386" y="2402696"/>
                  <a:pt x="1374236" y="2385542"/>
                </a:cubicBezTo>
                <a:cubicBezTo>
                  <a:pt x="1309069" y="2319213"/>
                  <a:pt x="1249618" y="2244880"/>
                  <a:pt x="1200456" y="2160254"/>
                </a:cubicBezTo>
                <a:cubicBezTo>
                  <a:pt x="1200456" y="2160254"/>
                  <a:pt x="1200456" y="2160254"/>
                  <a:pt x="1027819" y="1860631"/>
                </a:cubicBezTo>
                <a:cubicBezTo>
                  <a:pt x="1027819" y="1860631"/>
                  <a:pt x="1027819" y="1860631"/>
                  <a:pt x="109756" y="271032"/>
                </a:cubicBezTo>
                <a:cubicBezTo>
                  <a:pt x="61738" y="186406"/>
                  <a:pt x="26296" y="97206"/>
                  <a:pt x="2287" y="6862"/>
                </a:cubicBezTo>
                <a:cubicBezTo>
                  <a:pt x="1143" y="4575"/>
                  <a:pt x="1143" y="2287"/>
                  <a:pt x="0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78D332-D7CF-AC4A-776D-270BD5CFE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7A9678-5A5F-D4A6-FE07-086AC02A08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ACA29A-437E-1705-8314-A1347D923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57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404D26-11ED-6C46-01AF-CA4BC27B7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12155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473" imgH="473" progId="TCLayout.ActiveDocument.1">
                  <p:embed/>
                </p:oleObj>
              </mc:Choice>
              <mc:Fallback>
                <p:oleObj name="think-cell Folie" r:id="rId4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404D26-11ED-6C46-01AF-CA4BC27B7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61" r:id="rId7"/>
    <p:sldLayoutId id="2147483662" r:id="rId8"/>
    <p:sldLayoutId id="2147483663" r:id="rId9"/>
    <p:sldLayoutId id="2147483649" r:id="rId10"/>
    <p:sldLayoutId id="2147483657" r:id="rId11"/>
    <p:sldLayoutId id="2147483650" r:id="rId12"/>
    <p:sldLayoutId id="2147483659" r:id="rId13"/>
    <p:sldLayoutId id="2147483660" r:id="rId14"/>
    <p:sldLayoutId id="2147483656" r:id="rId15"/>
    <p:sldLayoutId id="2147483686" r:id="rId16"/>
    <p:sldLayoutId id="2147483687" r:id="rId17"/>
    <p:sldLayoutId id="2147483681" r:id="rId18"/>
    <p:sldLayoutId id="2147483682" r:id="rId19"/>
    <p:sldLayoutId id="2147483668" r:id="rId20"/>
    <p:sldLayoutId id="2147483667" r:id="rId21"/>
    <p:sldLayoutId id="2147483669" r:id="rId22"/>
    <p:sldLayoutId id="2147483683" r:id="rId23"/>
    <p:sldLayoutId id="2147483697" r:id="rId24"/>
    <p:sldLayoutId id="2147483684" r:id="rId25"/>
    <p:sldLayoutId id="2147483672" r:id="rId26"/>
    <p:sldLayoutId id="2147483695" r:id="rId27"/>
    <p:sldLayoutId id="2147483673" r:id="rId28"/>
    <p:sldLayoutId id="2147483685" r:id="rId29"/>
    <p:sldLayoutId id="2147483688" r:id="rId30"/>
    <p:sldLayoutId id="2147483689" r:id="rId31"/>
    <p:sldLayoutId id="2147483690" r:id="rId32"/>
    <p:sldLayoutId id="2147483691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698" r:id="rId4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hyperlink" Target="https://www.nejm.org/doi/full/10.1056/NEJMoa2404139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124B93-66B1-3106-C264-531095CEC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75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24B93-66B1-3106-C264-531095CEC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2">
            <a:extLst>
              <a:ext uri="{FF2B5EF4-FFF2-40B4-BE49-F238E27FC236}">
                <a16:creationId xmlns:a16="http://schemas.microsoft.com/office/drawing/2014/main" id="{8E4AC5D8-9ACC-CE3C-F6E7-61F1C1173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779463"/>
            <a:ext cx="5491163" cy="2276399"/>
          </a:xfrm>
        </p:spPr>
        <p:txBody>
          <a:bodyPr vert="horz"/>
          <a:lstStyle/>
          <a:p>
            <a:r>
              <a:rPr lang="en-GB" sz="2800" b="1" i="0" u="none" strike="noStrike" baseline="0" dirty="0">
                <a:solidFill>
                  <a:schemeClr val="accent1"/>
                </a:solidFill>
                <a:latin typeface="Arial" panose="020B0604020202020204" pitchFamily="34" charset="0"/>
              </a:rPr>
              <a:t>Final Results for Adjuvant Dabrafenib plus Trametinib in Stage III Melanoma</a:t>
            </a:r>
            <a:endParaRPr lang="de-DE" sz="2600" dirty="0"/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B90BD6E6-4733-F7E0-6B10-D9BD60872A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394074"/>
            <a:ext cx="5110163" cy="1714620"/>
          </a:xfrm>
        </p:spPr>
        <p:txBody>
          <a:bodyPr/>
          <a:lstStyle/>
          <a:p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G. V. Long, A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Hauschild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M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Santinami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J. M. Kirkwood, V. Atkinson, M. Mandala, B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Merelli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V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ChiarionSileni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M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Nyakas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A. Haydon, C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Dutriaux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C. Robert, L. Mortier, J. Schachter, D. Schadendorf, T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Lesimple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R. Plummer, J. Larkin, M. Tan, S. B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Adnaik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P. Burgess, T. </a:t>
            </a:r>
            <a:r>
              <a:rPr lang="en-GB" sz="1600" b="0" i="0" u="none" strike="noStrike" baseline="0" dirty="0" err="1">
                <a:solidFill>
                  <a:srgbClr val="002456"/>
                </a:solidFill>
                <a:latin typeface="Arial" panose="020B0604020202020204" pitchFamily="34" charset="0"/>
              </a:rPr>
              <a:t>Jandoo</a:t>
            </a:r>
            <a:r>
              <a:rPr lang="en-GB" sz="1600" b="0" i="0" u="none" strike="noStrike" baseline="0" dirty="0">
                <a:solidFill>
                  <a:srgbClr val="002456"/>
                </a:solidFill>
                <a:latin typeface="Arial" panose="020B0604020202020204" pitchFamily="34" charset="0"/>
              </a:rPr>
              <a:t>, R. Dummer</a:t>
            </a:r>
            <a:endParaRPr kumimoji="0" lang="en-US" sz="1600" b="0" i="0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/>
            <a:endParaRPr lang="de-DE" sz="1800" b="0" baseline="30000" dirty="0">
              <a:latin typeface="AdvTTdd0b0455.B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72725FC-75FF-B70F-B5DB-E4E06D0E7C62}"/>
              </a:ext>
            </a:extLst>
          </p:cNvPr>
          <p:cNvSpPr txBox="1"/>
          <p:nvPr/>
        </p:nvSpPr>
        <p:spPr>
          <a:xfrm>
            <a:off x="504063" y="5108694"/>
            <a:ext cx="610235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sz="1100" b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GV, et al. N Engl J Med. 2024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11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ub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ead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www.nejm.org/doi/full/10.1056/NEJMoa2404139</a:t>
            </a:r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Zugriff vom: 24.06.2024.</a:t>
            </a:r>
          </a:p>
          <a:p>
            <a:pPr algn="l"/>
            <a:r>
              <a:rPr lang="de-DE" sz="11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I:10.1056/NEJMoa2404139</a:t>
            </a:r>
          </a:p>
        </p:txBody>
      </p:sp>
    </p:spTree>
    <p:extLst>
      <p:ext uri="{BB962C8B-B14F-4D97-AF65-F5344CB8AC3E}">
        <p14:creationId xmlns:p14="http://schemas.microsoft.com/office/powerpoint/2010/main" val="688923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8CB956D-04C7-0660-6285-0AFA33DACE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B956D-04C7-0660-6285-0AFA33DACE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0083757" cy="1065278"/>
          </a:xfrm>
        </p:spPr>
        <p:txBody>
          <a:bodyPr vert="horz"/>
          <a:lstStyle/>
          <a:p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Design der COMBI-AD Studie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CB0B9B06-5F49-6B24-FBF9-6689B712BEC2}"/>
              </a:ext>
            </a:extLst>
          </p:cNvPr>
          <p:cNvSpPr txBox="1">
            <a:spLocks/>
          </p:cNvSpPr>
          <p:nvPr/>
        </p:nvSpPr>
        <p:spPr>
          <a:xfrm>
            <a:off x="604837" y="5621618"/>
            <a:ext cx="6285490" cy="3943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e-DE" sz="1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GV, et al. N Engl J Med. 2017;377:1813-1823; </a:t>
            </a:r>
            <a:r>
              <a:rPr lang="de-DE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e-DE" sz="1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uschild A, et al. J </a:t>
            </a:r>
            <a:r>
              <a:rPr lang="de-DE" sz="10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de-DE" sz="1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de-DE" sz="1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8;4:1382-1388; </a:t>
            </a:r>
            <a:r>
              <a:rPr lang="de-DE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e-DE" sz="1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mmer R, et al. N Engl J Med. 2020;383:1139-1148.​</a:t>
            </a:r>
            <a:endParaRPr lang="da-DK" sz="10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321A8449-3FD5-35A0-723D-4D7877089F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8" y="1376364"/>
            <a:ext cx="9267132" cy="3679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44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D38F5D7-1852-D087-D902-5A88611C1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13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38F5D7-1852-D087-D902-5A88611C1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Screenshot, Text, Reihe enthält.&#10;&#10;Automatisch generierte Beschreibung">
            <a:extLst>
              <a:ext uri="{FF2B5EF4-FFF2-40B4-BE49-F238E27FC236}">
                <a16:creationId xmlns:a16="http://schemas.microsoft.com/office/drawing/2014/main" id="{435FA8C3-BB4E-0796-3759-9B3A023D64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14" y="1526959"/>
            <a:ext cx="8809917" cy="39134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E775B-9702-BEF4-0954-37963C774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650373" cy="1065278"/>
          </a:xfrm>
        </p:spPr>
        <p:txBody>
          <a:bodyPr vert="horz"/>
          <a:lstStyle/>
          <a:p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Gesamtüberleben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9FDCD813-4B9D-ED57-143A-CEF2518B1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7615457"/>
              </p:ext>
            </p:extLst>
          </p:nvPr>
        </p:nvGraphicFramePr>
        <p:xfrm>
          <a:off x="7490137" y="418849"/>
          <a:ext cx="4387650" cy="11582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747513">
                  <a:extLst>
                    <a:ext uri="{9D8B030D-6E8A-4147-A177-3AD203B41FA5}">
                      <a16:colId xmlns:a16="http://schemas.microsoft.com/office/drawing/2014/main" val="44875901"/>
                    </a:ext>
                  </a:extLst>
                </a:gridCol>
                <a:gridCol w="576203">
                  <a:extLst>
                    <a:ext uri="{9D8B030D-6E8A-4147-A177-3AD203B41FA5}">
                      <a16:colId xmlns:a16="http://schemas.microsoft.com/office/drawing/2014/main" val="2249844177"/>
                    </a:ext>
                  </a:extLst>
                </a:gridCol>
                <a:gridCol w="991068">
                  <a:extLst>
                    <a:ext uri="{9D8B030D-6E8A-4147-A177-3AD203B41FA5}">
                      <a16:colId xmlns:a16="http://schemas.microsoft.com/office/drawing/2014/main" val="484417236"/>
                    </a:ext>
                  </a:extLst>
                </a:gridCol>
                <a:gridCol w="2072866">
                  <a:extLst>
                    <a:ext uri="{9D8B030D-6E8A-4147-A177-3AD203B41FA5}">
                      <a16:colId xmlns:a16="http://schemas.microsoft.com/office/drawing/2014/main" val="2702742515"/>
                    </a:ext>
                  </a:extLst>
                </a:gridCol>
              </a:tblGrid>
              <a:tr h="219091">
                <a:tc>
                  <a:txBody>
                    <a:bodyPr/>
                    <a:lstStyle/>
                    <a:p>
                      <a:r>
                        <a:rPr lang="en-GB" sz="1200" dirty="0"/>
                        <a:t>A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err="1"/>
                        <a:t>Ereigniss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an, </a:t>
                      </a:r>
                      <a:r>
                        <a:rPr lang="en-GB" sz="1200" dirty="0" err="1"/>
                        <a:t>Monate</a:t>
                      </a:r>
                      <a:r>
                        <a:rPr lang="en-GB" sz="1200" dirty="0"/>
                        <a:t> (95%-K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271135"/>
                  </a:ext>
                </a:extLst>
              </a:tr>
              <a:tr h="219091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D+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4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1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8650" algn="l"/>
                          <a:tab pos="720725" algn="l"/>
                          <a:tab pos="801688" algn="l"/>
                          <a:tab pos="808038" algn="l"/>
                          <a:tab pos="984250" algn="l"/>
                          <a:tab pos="1524000" algn="l"/>
                          <a:tab pos="1700213" algn="l"/>
                        </a:tabLst>
                      </a:pPr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cs typeface="Arial" panose="020B0604020202020204" pitchFamily="34" charset="0"/>
                        </a:rPr>
                        <a:t>k.A. (120,7; k. A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416823"/>
                  </a:ext>
                </a:extLst>
              </a:tr>
              <a:tr h="219091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lace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432</a:t>
                      </a:r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cs typeface="Arial" panose="020B0604020202020204" pitchFamily="34" charset="0"/>
                        </a:rPr>
                        <a:t>k.A. (k.A.; k. A.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9777938"/>
                  </a:ext>
                </a:extLst>
              </a:tr>
              <a:tr h="267778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: 0,80; P</a:t>
                      </a:r>
                      <a:r>
                        <a:rPr kumimoji="0" lang="de" sz="1600" b="1" i="0" u="none" strike="noStrike" cap="none" normalizeH="0" baseline="0" dirty="0">
                          <a:ln>
                            <a:noFill/>
                          </a:ln>
                          <a:effectLst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=0,06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kumimoji="0" lang="de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5%-KI (0,62; 1,01)</a:t>
                      </a:r>
                      <a:endParaRPr kumimoji="0" lang="de" alt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044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4305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48" name="think-cell data - do not delete" hidden="1">
            <a:extLst>
              <a:ext uri="{FF2B5EF4-FFF2-40B4-BE49-F238E27FC236}">
                <a16:creationId xmlns:a16="http://schemas.microsoft.com/office/drawing/2014/main" id="{31CC81B2-E356-7499-CE74-93208569F2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995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93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CC81B2-E356-7499-CE74-93208569F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66B75DC7-AB55-A629-AB9E-CBC652014E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97" y="1617928"/>
            <a:ext cx="8679514" cy="38094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E775B-9702-BEF4-0954-37963C774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1008940" cy="1065278"/>
          </a:xfrm>
        </p:spPr>
        <p:txBody>
          <a:bodyPr vert="horz"/>
          <a:lstStyle/>
          <a:p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Melanomspezifisches</a:t>
            </a:r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Überleben</a:t>
            </a:r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F06AFABE-116A-A726-2959-9DE4F5BAB1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374172"/>
              </p:ext>
            </p:extLst>
          </p:nvPr>
        </p:nvGraphicFramePr>
        <p:xfrm>
          <a:off x="7468366" y="401152"/>
          <a:ext cx="4387650" cy="11582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747513">
                  <a:extLst>
                    <a:ext uri="{9D8B030D-6E8A-4147-A177-3AD203B41FA5}">
                      <a16:colId xmlns:a16="http://schemas.microsoft.com/office/drawing/2014/main" val="44875901"/>
                    </a:ext>
                  </a:extLst>
                </a:gridCol>
                <a:gridCol w="576203">
                  <a:extLst>
                    <a:ext uri="{9D8B030D-6E8A-4147-A177-3AD203B41FA5}">
                      <a16:colId xmlns:a16="http://schemas.microsoft.com/office/drawing/2014/main" val="2249844177"/>
                    </a:ext>
                  </a:extLst>
                </a:gridCol>
                <a:gridCol w="991068">
                  <a:extLst>
                    <a:ext uri="{9D8B030D-6E8A-4147-A177-3AD203B41FA5}">
                      <a16:colId xmlns:a16="http://schemas.microsoft.com/office/drawing/2014/main" val="484417236"/>
                    </a:ext>
                  </a:extLst>
                </a:gridCol>
                <a:gridCol w="2072866">
                  <a:extLst>
                    <a:ext uri="{9D8B030D-6E8A-4147-A177-3AD203B41FA5}">
                      <a16:colId xmlns:a16="http://schemas.microsoft.com/office/drawing/2014/main" val="2702742515"/>
                    </a:ext>
                  </a:extLst>
                </a:gridCol>
              </a:tblGrid>
              <a:tr h="244832">
                <a:tc>
                  <a:txBody>
                    <a:bodyPr/>
                    <a:lstStyle/>
                    <a:p>
                      <a:r>
                        <a:rPr lang="en-GB" sz="1200" dirty="0"/>
                        <a:t>A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err="1"/>
                        <a:t>Ereigniss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an, </a:t>
                      </a:r>
                      <a:r>
                        <a:rPr lang="en-GB" sz="1200" dirty="0" err="1"/>
                        <a:t>Monate</a:t>
                      </a:r>
                      <a:r>
                        <a:rPr lang="en-GB" sz="1200" dirty="0"/>
                        <a:t> (95%-K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271135"/>
                  </a:ext>
                </a:extLst>
              </a:tr>
              <a:tr h="244832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D+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4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8650" algn="l"/>
                          <a:tab pos="720725" algn="l"/>
                          <a:tab pos="801688" algn="l"/>
                          <a:tab pos="808038" algn="l"/>
                          <a:tab pos="984250" algn="l"/>
                          <a:tab pos="1524000" algn="l"/>
                          <a:tab pos="1700213" algn="l"/>
                        </a:tabLst>
                      </a:pPr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cs typeface="Arial" panose="020B0604020202020204" pitchFamily="34" charset="0"/>
                        </a:rPr>
                        <a:t>k. A. (k. A., k. A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416823"/>
                  </a:ext>
                </a:extLst>
              </a:tr>
              <a:tr h="244832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lace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432</a:t>
                      </a:r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cs typeface="Arial" panose="020B0604020202020204" pitchFamily="34" charset="0"/>
                        </a:rPr>
                        <a:t>k.A. (k.A.; k. A.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9777938"/>
                  </a:ext>
                </a:extLst>
              </a:tr>
              <a:tr h="2992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: 0,78 </a:t>
                      </a:r>
                      <a:r>
                        <a:rPr kumimoji="0" lang="de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5%-KI (0,59; 1,02)</a:t>
                      </a:r>
                      <a:endParaRPr kumimoji="0" lang="de" alt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044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256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0D02D5CE-754C-A6CC-18FE-D752F3B185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9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02D5CE-754C-A6CC-18FE-D752F3B18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Text, Screenshot, Reihe, Diagramm enthält.&#10;&#10;Automatisch generierte Beschreibung">
            <a:extLst>
              <a:ext uri="{FF2B5EF4-FFF2-40B4-BE49-F238E27FC236}">
                <a16:creationId xmlns:a16="http://schemas.microsoft.com/office/drawing/2014/main" id="{DACDFC06-0B0F-F85C-6368-B72FD6BB5E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036" y="1601095"/>
            <a:ext cx="8918953" cy="38070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E775B-9702-BEF4-0954-37963C774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650373" cy="1065278"/>
          </a:xfrm>
        </p:spPr>
        <p:txBody>
          <a:bodyPr vert="horz"/>
          <a:lstStyle/>
          <a:p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Rezidivfreies</a:t>
            </a:r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Überleben</a:t>
            </a:r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F94A6BF2-3787-313B-5756-DFEA66DAB7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914158"/>
              </p:ext>
            </p:extLst>
          </p:nvPr>
        </p:nvGraphicFramePr>
        <p:xfrm>
          <a:off x="7510976" y="376970"/>
          <a:ext cx="4305036" cy="11582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733438">
                  <a:extLst>
                    <a:ext uri="{9D8B030D-6E8A-4147-A177-3AD203B41FA5}">
                      <a16:colId xmlns:a16="http://schemas.microsoft.com/office/drawing/2014/main" val="44875901"/>
                    </a:ext>
                  </a:extLst>
                </a:gridCol>
                <a:gridCol w="565355">
                  <a:extLst>
                    <a:ext uri="{9D8B030D-6E8A-4147-A177-3AD203B41FA5}">
                      <a16:colId xmlns:a16="http://schemas.microsoft.com/office/drawing/2014/main" val="2249844177"/>
                    </a:ext>
                  </a:extLst>
                </a:gridCol>
                <a:gridCol w="972407">
                  <a:extLst>
                    <a:ext uri="{9D8B030D-6E8A-4147-A177-3AD203B41FA5}">
                      <a16:colId xmlns:a16="http://schemas.microsoft.com/office/drawing/2014/main" val="484417236"/>
                    </a:ext>
                  </a:extLst>
                </a:gridCol>
                <a:gridCol w="2033836">
                  <a:extLst>
                    <a:ext uri="{9D8B030D-6E8A-4147-A177-3AD203B41FA5}">
                      <a16:colId xmlns:a16="http://schemas.microsoft.com/office/drawing/2014/main" val="2702742515"/>
                    </a:ext>
                  </a:extLst>
                </a:gridCol>
              </a:tblGrid>
              <a:tr h="243690">
                <a:tc>
                  <a:txBody>
                    <a:bodyPr/>
                    <a:lstStyle/>
                    <a:p>
                      <a:r>
                        <a:rPr lang="en-GB" sz="1200" dirty="0"/>
                        <a:t>A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err="1"/>
                        <a:t>Ereigniss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an, </a:t>
                      </a:r>
                      <a:r>
                        <a:rPr lang="en-GB" sz="1200" dirty="0" err="1"/>
                        <a:t>Monate</a:t>
                      </a:r>
                      <a:r>
                        <a:rPr lang="en-GB" sz="1200" dirty="0"/>
                        <a:t> (95%-K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271135"/>
                  </a:ext>
                </a:extLst>
              </a:tr>
              <a:tr h="24369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D+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4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1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93,1 (47,9; k. A.)</a:t>
                      </a:r>
                      <a:endParaRPr kumimoji="0" lang="de" sz="1200" b="0" i="0" u="none" strike="noStrike" cap="none" spc="-50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416823"/>
                  </a:ext>
                </a:extLst>
              </a:tr>
              <a:tr h="24369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lace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432</a:t>
                      </a:r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6,6 (12,7; 22,1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9777938"/>
                  </a:ext>
                </a:extLst>
              </a:tr>
              <a:tr h="297843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: 0,52 </a:t>
                      </a:r>
                      <a:r>
                        <a:rPr kumimoji="0" lang="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5%-KI (0,43; 0,63)</a:t>
                      </a:r>
                      <a:endParaRPr kumimoji="0" lang="de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044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238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A44ABD-1EE6-8B50-E9FE-2F4D0E8AFD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81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A44ABD-1EE6-8B50-E9FE-2F4D0E8AF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Text, Screenshot, Reihe enthält.&#10;&#10;Automatisch generierte Beschreibung">
            <a:extLst>
              <a:ext uri="{FF2B5EF4-FFF2-40B4-BE49-F238E27FC236}">
                <a16:creationId xmlns:a16="http://schemas.microsoft.com/office/drawing/2014/main" id="{8ADB05EE-D363-9B91-3B80-293BAE14B8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90" y="1440991"/>
            <a:ext cx="8804483" cy="39928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E775B-9702-BEF4-0954-37963C774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650373" cy="1065278"/>
          </a:xfrm>
        </p:spPr>
        <p:txBody>
          <a:bodyPr vert="horz"/>
          <a:lstStyle/>
          <a:p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Fernmetastasenfreies</a:t>
            </a:r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800" dirty="0" err="1">
                <a:latin typeface="Arial" panose="020B0604020202020204" pitchFamily="34" charset="0"/>
                <a:cs typeface="Arial" panose="020B0604020202020204" pitchFamily="34" charset="0"/>
              </a:rPr>
              <a:t>Überleben</a:t>
            </a:r>
            <a:b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85EF330E-AC31-B014-9D06-B198064850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201107"/>
              </p:ext>
            </p:extLst>
          </p:nvPr>
        </p:nvGraphicFramePr>
        <p:xfrm>
          <a:off x="7457679" y="398111"/>
          <a:ext cx="4406926" cy="11582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750797">
                  <a:extLst>
                    <a:ext uri="{9D8B030D-6E8A-4147-A177-3AD203B41FA5}">
                      <a16:colId xmlns:a16="http://schemas.microsoft.com/office/drawing/2014/main" val="44875901"/>
                    </a:ext>
                  </a:extLst>
                </a:gridCol>
                <a:gridCol w="578735">
                  <a:extLst>
                    <a:ext uri="{9D8B030D-6E8A-4147-A177-3AD203B41FA5}">
                      <a16:colId xmlns:a16="http://schemas.microsoft.com/office/drawing/2014/main" val="2249844177"/>
                    </a:ext>
                  </a:extLst>
                </a:gridCol>
                <a:gridCol w="995422">
                  <a:extLst>
                    <a:ext uri="{9D8B030D-6E8A-4147-A177-3AD203B41FA5}">
                      <a16:colId xmlns:a16="http://schemas.microsoft.com/office/drawing/2014/main" val="484417236"/>
                    </a:ext>
                  </a:extLst>
                </a:gridCol>
                <a:gridCol w="2081972">
                  <a:extLst>
                    <a:ext uri="{9D8B030D-6E8A-4147-A177-3AD203B41FA5}">
                      <a16:colId xmlns:a16="http://schemas.microsoft.com/office/drawing/2014/main" val="2702742515"/>
                    </a:ext>
                  </a:extLst>
                </a:gridCol>
              </a:tblGrid>
              <a:tr h="226598">
                <a:tc>
                  <a:txBody>
                    <a:bodyPr/>
                    <a:lstStyle/>
                    <a:p>
                      <a:r>
                        <a:rPr lang="en-GB" sz="1200" dirty="0"/>
                        <a:t>A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err="1"/>
                        <a:t>Ereigniss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an, </a:t>
                      </a:r>
                      <a:r>
                        <a:rPr lang="en-GB" sz="1200" dirty="0" err="1"/>
                        <a:t>Monate</a:t>
                      </a:r>
                      <a:r>
                        <a:rPr lang="en-GB" sz="1200" dirty="0"/>
                        <a:t> (95%-K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271135"/>
                  </a:ext>
                </a:extLst>
              </a:tr>
              <a:tr h="226598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D+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4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2"/>
                          </a:solidFill>
                        </a:rPr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8650" algn="l"/>
                          <a:tab pos="720725" algn="l"/>
                          <a:tab pos="801688" algn="l"/>
                          <a:tab pos="808038" algn="l"/>
                          <a:tab pos="984250" algn="l"/>
                          <a:tab pos="1524000" algn="l"/>
                          <a:tab pos="1700213" algn="l"/>
                        </a:tabLst>
                      </a:pPr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cs typeface="Arial" panose="020B0604020202020204" pitchFamily="34" charset="0"/>
                        </a:rPr>
                        <a:t>k. A. (k. A., k. A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416823"/>
                  </a:ext>
                </a:extLst>
              </a:tr>
              <a:tr h="226598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lace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432</a:t>
                      </a:r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" sz="1200" b="0" i="0" u="none" strike="noStrike" cap="none" spc="-50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cs typeface="Arial" panose="020B0604020202020204" pitchFamily="34" charset="0"/>
                        </a:rPr>
                        <a:t>114,6 (49,8; k. A.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9777938"/>
                  </a:ext>
                </a:extLst>
              </a:tr>
              <a:tr h="276953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: 0,56 </a:t>
                      </a:r>
                      <a:r>
                        <a:rPr kumimoji="0" lang="de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5%-KI (0,44; 0,71)</a:t>
                      </a:r>
                      <a:endParaRPr kumimoji="0" lang="de" alt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044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18228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B6A2C8-0C7E-72A8-7299-92DB6EBDE7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342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B6A2C8-0C7E-72A8-7299-92DB6EBD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6B5A2FF8-A32F-B20E-FE99-C85B8B353237}"/>
              </a:ext>
            </a:extLst>
          </p:cNvPr>
          <p:cNvSpPr/>
          <p:nvPr/>
        </p:nvSpPr>
        <p:spPr>
          <a:xfrm>
            <a:off x="707754" y="4662752"/>
            <a:ext cx="8242282" cy="115454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3"/>
            <a:r>
              <a:rPr lang="de-DE" sz="1600" b="0" dirty="0">
                <a:solidFill>
                  <a:schemeClr val="tx1"/>
                </a:solidFill>
              </a:rPr>
              <a:t>Bei einer Therapiedauer von 1 Jahr zeigt D+T eine numerische Verringerung des Sterberisikos</a:t>
            </a:r>
            <a:r>
              <a:rPr lang="de-DE" sz="1600" dirty="0">
                <a:solidFill>
                  <a:schemeClr val="tx1"/>
                </a:solidFill>
              </a:rPr>
              <a:t> um 20 % (HR: 0,80; P=0,06) gegenüber Placebo im Nachbeobachtungszeitraum von bis zu 10 Jahren.</a:t>
            </a:r>
            <a:endParaRPr lang="de-DE" sz="1600" b="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118580" cy="1065278"/>
          </a:xfrm>
        </p:spPr>
        <p:txBody>
          <a:bodyPr vert="horz"/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Zusammenfassung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Studienergebnisse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Überlebensvorteil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bei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verlässlichem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Sicherheitsprofil</a:t>
            </a:r>
            <a:endParaRPr lang="de-DE" kern="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B1112DE-21C3-0D24-546D-781D864250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20"/>
            <a:ext cx="10885198" cy="3275472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700" b="1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Längster Follow-Up-Zeitraum </a:t>
            </a:r>
            <a:r>
              <a:rPr lang="de" sz="1700" b="1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(</a:t>
            </a:r>
            <a:r>
              <a:rPr lang="de" sz="1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über</a:t>
            </a:r>
            <a:r>
              <a:rPr lang="de" sz="1700" b="1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10 Jahre)</a:t>
            </a:r>
            <a:r>
              <a:rPr lang="de" sz="1700" b="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in der </a:t>
            </a:r>
            <a:r>
              <a:rPr lang="de-DE" sz="1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djuvanten Therapie </a:t>
            </a:r>
            <a:r>
              <a:rPr lang="de-DE" sz="1700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s </a:t>
            </a:r>
            <a:r>
              <a:rPr lang="de" sz="1700" b="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Melanoms im Stadium III</a:t>
            </a:r>
          </a:p>
          <a:p>
            <a:pPr marL="285750" indent="-285750" algn="l" rtl="0">
              <a:lnSpc>
                <a:spcPct val="100000"/>
              </a:lnSpc>
              <a:spcBef>
                <a:spcPts val="18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" sz="1700" b="1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nhaltende Verbesserung des RFS und DMFS</a:t>
            </a:r>
            <a:r>
              <a:rPr lang="de" sz="1700" b="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mit Dabrafenib plus Trametinib im Vergleich zu Placebo</a:t>
            </a:r>
          </a:p>
          <a:p>
            <a:pPr marL="285750" indent="-285750" algn="l" rtl="0">
              <a:lnSpc>
                <a:spcPct val="100000"/>
              </a:lnSpc>
              <a:spcBef>
                <a:spcPts val="18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" sz="170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umerischer Überlebensvorteil:</a:t>
            </a:r>
            <a:endParaRPr lang="de" sz="1700" i="0" u="none" strike="sngStrike" baseline="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501750" lvl="2" indent="-285750">
              <a:lnSpc>
                <a:spcPct val="100000"/>
              </a:lnSpc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: </a:t>
            </a:r>
            <a:r>
              <a:rPr lang="de-DE" sz="1700" b="1" dirty="0">
                <a:latin typeface="Arial" panose="020B0604020202020204" pitchFamily="34" charset="0"/>
                <a:cs typeface="Arial" panose="020B0604020202020204" pitchFamily="34" charset="0"/>
              </a:rPr>
              <a:t>20 %-</a:t>
            </a:r>
            <a:r>
              <a:rPr lang="de-DE" sz="1700" b="1" dirty="0" err="1">
                <a:latin typeface="Arial" panose="020B0604020202020204" pitchFamily="34" charset="0"/>
                <a:cs typeface="Arial" panose="020B0604020202020204" pitchFamily="34" charset="0"/>
              </a:rPr>
              <a:t>ige</a:t>
            </a:r>
            <a:r>
              <a:rPr lang="de-DE" sz="1700" b="1" dirty="0">
                <a:latin typeface="Arial" panose="020B0604020202020204" pitchFamily="34" charset="0"/>
                <a:cs typeface="Arial" panose="020B0604020202020204" pitchFamily="34" charset="0"/>
              </a:rPr>
              <a:t> Reduktion des Sterberisikos </a:t>
            </a:r>
            <a:r>
              <a:rPr lang="de" sz="1700" b="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(P=0,06)</a:t>
            </a:r>
          </a:p>
          <a:p>
            <a:pPr marL="501750" lvl="2" indent="-285750">
              <a:lnSpc>
                <a:spcPct val="100000"/>
              </a:lnSpc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S: </a:t>
            </a:r>
            <a:r>
              <a:rPr lang="de-DE" sz="1700" b="1" dirty="0">
                <a:latin typeface="Arial" panose="020B0604020202020204" pitchFamily="34" charset="0"/>
                <a:cs typeface="Arial" panose="020B0604020202020204" pitchFamily="34" charset="0"/>
              </a:rPr>
              <a:t>22 %-</a:t>
            </a:r>
            <a:r>
              <a:rPr lang="de-DE" sz="1700" b="1" dirty="0" err="1">
                <a:latin typeface="Arial" panose="020B0604020202020204" pitchFamily="34" charset="0"/>
                <a:cs typeface="Arial" panose="020B0604020202020204" pitchFamily="34" charset="0"/>
              </a:rPr>
              <a:t>ige</a:t>
            </a:r>
            <a:r>
              <a:rPr lang="de-DE" sz="1700" b="1" dirty="0">
                <a:latin typeface="Arial" panose="020B0604020202020204" pitchFamily="34" charset="0"/>
                <a:cs typeface="Arial" panose="020B0604020202020204" pitchFamily="34" charset="0"/>
              </a:rPr>
              <a:t> Reduktion des Risikos am Melanom zu versterben </a:t>
            </a:r>
            <a:endParaRPr lang="de" sz="1700" b="0" i="0" u="none" baseline="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285750" indent="-285750" algn="l" rtl="0">
              <a:lnSpc>
                <a:spcPct val="100000"/>
              </a:lnSpc>
              <a:spcBef>
                <a:spcPts val="18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" sz="1700" b="0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Keine neuen Sicherheitssignale, keine irreversiblen </a:t>
            </a:r>
            <a:r>
              <a:rPr lang="de" sz="1700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langfristigen Nebenwirkungen</a:t>
            </a:r>
            <a:endParaRPr lang="de-DE" sz="1700" b="0" strike="sngStrike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lvl="2" indent="0">
              <a:lnSpc>
                <a:spcPct val="100000"/>
              </a:lnSpc>
              <a:buClr>
                <a:srgbClr val="0070C0"/>
              </a:buClr>
              <a:buNone/>
            </a:pPr>
            <a:endParaRPr lang="de" sz="17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pic>
        <p:nvPicPr>
          <p:cNvPr id="19" name="Grafik 18" descr="Ein Bild, das Grafiken, Schrift, Kreis, Logo enthält.&#10;&#10;Automatisch generierte Beschreibung">
            <a:extLst>
              <a:ext uri="{FF2B5EF4-FFF2-40B4-BE49-F238E27FC236}">
                <a16:creationId xmlns:a16="http://schemas.microsoft.com/office/drawing/2014/main" id="{A67DC2E4-D0B3-FB65-5759-11C2653A7F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271" y="4842711"/>
            <a:ext cx="795517" cy="79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46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Logo" id="{B57C0452-1FBD-4499-8E36-B216C990B7DC}" vid="{CA353433-3FC9-49B4-ADCD-09F2910C037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8c7806-8466-4168-915c-8faa334cb9c7">
      <Terms xmlns="http://schemas.microsoft.com/office/infopath/2007/PartnerControls"/>
    </lcf76f155ced4ddcb4097134ff3c332f>
    <TaxCatchAll xmlns="d11feb54-68c7-49c3-a814-c420e86e489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9C118A3BD74544FB48399ABDB3DC374" ma:contentTypeVersion="15" ma:contentTypeDescription="Ein neues Dokument erstellen." ma:contentTypeScope="" ma:versionID="65654e4fe9248d67de7db6dc6bc84f4e">
  <xsd:schema xmlns:xsd="http://www.w3.org/2001/XMLSchema" xmlns:xs="http://www.w3.org/2001/XMLSchema" xmlns:p="http://schemas.microsoft.com/office/2006/metadata/properties" xmlns:ns2="f38c7806-8466-4168-915c-8faa334cb9c7" xmlns:ns3="d11feb54-68c7-49c3-a814-c420e86e4890" targetNamespace="http://schemas.microsoft.com/office/2006/metadata/properties" ma:root="true" ma:fieldsID="1ea65b5f92420ace2f801015fbf1069c" ns2:_="" ns3:_="">
    <xsd:import namespace="f38c7806-8466-4168-915c-8faa334cb9c7"/>
    <xsd:import namespace="d11feb54-68c7-49c3-a814-c420e86e48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8c7806-8466-4168-915c-8faa334cb9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80d8bfb3-e8ae-488d-96bb-aca0aea53a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1feb54-68c7-49c3-a814-c420e86e489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60b46826-10c9-47f7-bfb9-512ab8df6342}" ma:internalName="TaxCatchAll" ma:showField="CatchAllData" ma:web="d11feb54-68c7-49c3-a814-c420e86e48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DFC7FB-C125-4275-825E-BA29451D887C}">
  <ds:schemaRefs>
    <ds:schemaRef ds:uri="http://purl.org/dc/terms/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fff0f7d4-3120-4cc8-bc0f-abb32822f13d"/>
    <ds:schemaRef ds:uri="5d21ea6c-4d9c-45bb-9193-24ecb6c2c61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23902CF-6916-4DCC-8FC2-11AF3C9490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0A2C29-B189-4BED-B7DE-290FA8957E78}"/>
</file>

<file path=docProps/app.xml><?xml version="1.0" encoding="utf-8"?>
<Properties xmlns="http://schemas.openxmlformats.org/officeDocument/2006/extended-properties" xmlns:vt="http://schemas.openxmlformats.org/officeDocument/2006/docPropsVTypes">
  <Template>Novartis_PPT_16x9_Novartis_Logo</Template>
  <TotalTime>0</TotalTime>
  <Words>536</Words>
  <Application>Microsoft Office PowerPoint</Application>
  <PresentationFormat>Breitbild</PresentationFormat>
  <Paragraphs>77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dvTTdd0b0455.B</vt:lpstr>
      <vt:lpstr>Arial</vt:lpstr>
      <vt:lpstr>Calibri</vt:lpstr>
      <vt:lpstr>Ping LCG Medium</vt:lpstr>
      <vt:lpstr>Novartis | Reimagining Medicine</vt:lpstr>
      <vt:lpstr>think-cell Folie</vt:lpstr>
      <vt:lpstr>Final Results for Adjuvant Dabrafenib plus Trametinib in Stage III Melanoma</vt:lpstr>
      <vt:lpstr>Design der COMBI-AD Studie</vt:lpstr>
      <vt:lpstr>Gesamtüberleben</vt:lpstr>
      <vt:lpstr>Melanomspezifisches Überleben </vt:lpstr>
      <vt:lpstr>Rezidivfreies Überleben </vt:lpstr>
      <vt:lpstr>Fernmetastasenfreies Überleben </vt:lpstr>
      <vt:lpstr>Zusammenfassung der Studienergebnisse: Überlebensvorteil bei verlässlichem Sicherheitsprofi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slide heading</dc:title>
  <dc:creator>Tagari, Eleni</dc:creator>
  <cp:lastModifiedBy>Tagari, Eleni</cp:lastModifiedBy>
  <cp:revision>18</cp:revision>
  <dcterms:created xsi:type="dcterms:W3CDTF">2024-05-09T09:43:35Z</dcterms:created>
  <dcterms:modified xsi:type="dcterms:W3CDTF">2024-07-08T06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09:58:24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528f3ced-e75e-42ef-9086-6e756b98a25d</vt:lpwstr>
  </property>
  <property fmtid="{D5CDD505-2E9C-101B-9397-08002B2CF9AE}" pid="8" name="MSIP_Label_3c9bec58-8084-492e-8360-0e1cfe36408c_ContentBits">
    <vt:lpwstr>0</vt:lpwstr>
  </property>
  <property fmtid="{D5CDD505-2E9C-101B-9397-08002B2CF9AE}" pid="9" name="ContentTypeId">
    <vt:lpwstr>0x010100BA8C3C8CC8737648BE72521C6C548D04</vt:lpwstr>
  </property>
  <property fmtid="{D5CDD505-2E9C-101B-9397-08002B2CF9AE}" pid="10" name="MediaServiceImageTags">
    <vt:lpwstr/>
  </property>
</Properties>
</file>